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4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5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92" r:id="rId6"/>
    <p:sldMasterId id="2147484033" r:id="rId7"/>
    <p:sldMasterId id="2147484105" r:id="rId8"/>
    <p:sldMasterId id="2147484153" r:id="rId9"/>
    <p:sldMasterId id="2147484205" r:id="rId10"/>
    <p:sldMasterId id="2147484240" r:id="rId11"/>
  </p:sldMasterIdLst>
  <p:notesMasterIdLst>
    <p:notesMasterId r:id="rId13"/>
  </p:notesMasterIdLst>
  <p:handoutMasterIdLst>
    <p:handoutMasterId r:id="rId14"/>
  </p:handoutMasterIdLst>
  <p:sldIdLst>
    <p:sldId id="2076137414" r:id="rId12"/>
  </p:sldIdLst>
  <p:sldSz cx="12198350" cy="6858000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68" userDrawn="1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8EE3212-8740-3453-19D6-7F019550136A}" name="Dimitri Cusnir" initials="DC" userId="S::Dimitri.Cusnir@es.ey.com::65ce49f7-14bf-4fab-af04-0a232eec7434" providerId="AD"/>
  <p188:author id="{DCD77441-A258-0346-4BCD-AA1372C90E54}" name="Mateusz Dzielicki" initials="MD" userId="S::Mateusz.Dzielicki@gds.ey.com::83f6df8a-910b-4c10-bb9c-8dbb763d5084" providerId="AD"/>
  <p188:author id="{079F1857-25BA-80D6-5135-94C8D240DD00}" name="Anna Kapskaia" initials="AK" userId="S::Anna.Kapskaia@gds.ey.com::3c8bdb6b-7f65-493f-ae62-cbb40329198d" providerId="AD"/>
  <p188:author id="{39CEBE7C-501C-8974-6E4D-921C24D6F83C}" name="Camilla Lennstrand" initials="CL" userId="S::cle@muuto.com::94b13b79-8ef1-42d5-bf63-1d9cf16623d6" providerId="AD"/>
  <p188:author id="{F75D9CC6-F84B-FB87-5AF6-E6617F4608D4}" name="Lola Hoya Esclapez" initials="LE" userId="S::dolores.hoya.esclapez@es.ey.com::4679d1af-c7ec-445a-a0d2-26ede076700e" providerId="AD"/>
  <p188:author id="{832FCACA-5D34-17B5-3066-771B39C901F0}" name="Tina Korshøj" initials="TK" userId="Tina Korshøj" providerId="None"/>
  <p188:author id="{8FFD26DB-2C2F-ECEB-436D-D073CCAE428B}" name="Lola Hoya Esclapez" initials="LH" userId="S::Dolores.Hoya.Esclapez@es.ey.com::4679d1af-c7ec-445a-a0d2-26ede076700e" providerId="AD"/>
  <p188:author id="{7C3030F5-8DD4-74F8-B815-EB7AE77A93AB}" name="Tina Korshøj" initials="" userId="S::tk@muuto.com::fc9c1787-86ff-4527-a6cb-a23af2ce0cf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Grace Paul" initials="GP" lastIdx="41" clrIdx="6">
    <p:extLst>
      <p:ext uri="{19B8F6BF-5375-455C-9EA6-DF929625EA0E}">
        <p15:presenceInfo xmlns:p15="http://schemas.microsoft.com/office/powerpoint/2012/main" userId="S::Grace.Paul@ey.com::f5a7f307-671c-4c5c-abaf-44860b4962fd" providerId="AD"/>
      </p:ext>
    </p:extLst>
  </p:cmAuthor>
  <p:cmAuthor id="8" name="Erika L McClimans" initials="ELM" lastIdx="66" clrIdx="7">
    <p:extLst>
      <p:ext uri="{19B8F6BF-5375-455C-9EA6-DF929625EA0E}">
        <p15:presenceInfo xmlns:p15="http://schemas.microsoft.com/office/powerpoint/2012/main" userId="S::Erika.McClimans@ey.com::193e7cd6-13d5-4a6c-9819-b19369357e0b" providerId="AD"/>
      </p:ext>
    </p:extLst>
  </p:cmAuthor>
  <p:cmAuthor id="2" name="Author" initials="A" lastIdx="474" clrIdx="1"/>
  <p:cmAuthor id="9" name="Tracy L Bonaccorso" initials="TLB" lastIdx="29" clrIdx="8">
    <p:extLst>
      <p:ext uri="{19B8F6BF-5375-455C-9EA6-DF929625EA0E}">
        <p15:presenceInfo xmlns:p15="http://schemas.microsoft.com/office/powerpoint/2012/main" userId="S::Tracy.L.Bonaccorso@ey.com::c158eb98-b32e-4974-8bed-84449e86cab7" providerId="AD"/>
      </p:ext>
    </p:extLst>
  </p:cmAuthor>
  <p:cmAuthor id="3" name="Lola Hoya Esclapez" initials="LE" lastIdx="11" clrIdx="2">
    <p:extLst>
      <p:ext uri="{19B8F6BF-5375-455C-9EA6-DF929625EA0E}">
        <p15:presenceInfo xmlns:p15="http://schemas.microsoft.com/office/powerpoint/2012/main" userId="S::dolores.hoya.esclapez@es.ey.com::4679d1af-c7ec-445a-a0d2-26ede076700e" providerId="AD"/>
      </p:ext>
    </p:extLst>
  </p:cmAuthor>
  <p:cmAuthor id="10" name="Ron Sklaver" initials="RS" lastIdx="85" clrIdx="9">
    <p:extLst>
      <p:ext uri="{19B8F6BF-5375-455C-9EA6-DF929625EA0E}">
        <p15:presenceInfo xmlns:p15="http://schemas.microsoft.com/office/powerpoint/2012/main" userId="S::Ron.Sklaver@ey.com::479b551f-9247-403b-b6dc-3829825b463b" providerId="AD"/>
      </p:ext>
    </p:extLst>
  </p:cmAuthor>
  <p:cmAuthor id="4" name="Marta Montilla Muñoz" initials="MMM" lastIdx="112" clrIdx="3">
    <p:extLst>
      <p:ext uri="{19B8F6BF-5375-455C-9EA6-DF929625EA0E}">
        <p15:presenceInfo xmlns:p15="http://schemas.microsoft.com/office/powerpoint/2012/main" userId="S::Marta.Montilla.Munoz@es.ey.com::d823162a-d09a-4a74-b6f8-4bafa5a9dfbf" providerId="AD"/>
      </p:ext>
    </p:extLst>
  </p:cmAuthor>
  <p:cmAuthor id="11" name="Vivian A Chen" initials="VC" lastIdx="10" clrIdx="10">
    <p:extLst>
      <p:ext uri="{19B8F6BF-5375-455C-9EA6-DF929625EA0E}">
        <p15:presenceInfo xmlns:p15="http://schemas.microsoft.com/office/powerpoint/2012/main" userId="S::vivian.chen@ey.com::4f59d42d-fcb3-4079-9854-805953c9c3ed" providerId="AD"/>
      </p:ext>
    </p:extLst>
  </p:cmAuthor>
  <p:cmAuthor id="5" name="Michael J Wallace" initials="MW" lastIdx="2" clrIdx="4">
    <p:extLst>
      <p:ext uri="{19B8F6BF-5375-455C-9EA6-DF929625EA0E}">
        <p15:presenceInfo xmlns:p15="http://schemas.microsoft.com/office/powerpoint/2012/main" userId="S::michael.wallace@ey.com::5a345df2-9db6-4d75-aca1-3867ed19435d" providerId="AD"/>
      </p:ext>
    </p:extLst>
  </p:cmAuthor>
  <p:cmAuthor id="6" name="Craig M Brandofino" initials="CMB" lastIdx="3" clrIdx="5">
    <p:extLst>
      <p:ext uri="{19B8F6BF-5375-455C-9EA6-DF929625EA0E}">
        <p15:presenceInfo xmlns:p15="http://schemas.microsoft.com/office/powerpoint/2012/main" userId="S::Craig.Brandofino@ey.com::bafbf714-d2b7-473b-b7e8-d70abfcbfdb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FACD"/>
    <a:srgbClr val="FFE600"/>
    <a:srgbClr val="C1AF11"/>
    <a:srgbClr val="2E2E38"/>
    <a:srgbClr val="98C890"/>
    <a:srgbClr val="151519"/>
    <a:srgbClr val="747480"/>
    <a:srgbClr val="747481"/>
    <a:srgbClr val="D2D2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7407" autoAdjust="0"/>
    <p:restoredTop sz="90493" autoAdjust="0"/>
  </p:normalViewPr>
  <p:slideViewPr>
    <p:cSldViewPr snapToGrid="0">
      <p:cViewPr varScale="1">
        <p:scale>
          <a:sx n="103" d="100"/>
          <a:sy n="103" d="100"/>
        </p:scale>
        <p:origin x="552" y="176"/>
      </p:cViewPr>
      <p:guideLst>
        <p:guide orient="horz" pos="768"/>
        <p:guide pos="3842"/>
      </p:guideLst>
    </p:cSldViewPr>
  </p:slideViewPr>
  <p:notesTextViewPr>
    <p:cViewPr>
      <p:scale>
        <a:sx n="125" d="100"/>
        <a:sy n="125" d="100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909"/>
        <p:guide pos="218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Master" Target="slideMasters/slideMaster6.xml"/><Relationship Id="rId5" Type="http://schemas.openxmlformats.org/officeDocument/2006/relationships/customXml" Target="../customXml/item5.xml"/><Relationship Id="rId15" Type="http://schemas.openxmlformats.org/officeDocument/2006/relationships/commentAuthors" Target="commentAuthors.xml"/><Relationship Id="rId10" Type="http://schemas.openxmlformats.org/officeDocument/2006/relationships/slideMaster" Target="slideMasters/slideMaster5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GB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14/03/2025</a:t>
            </a:fld>
            <a:endParaRPr lang="en-GB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r>
              <a:rPr lang="en-GB">
                <a:latin typeface="Arial" pitchFamily="34" charset="0"/>
              </a:rPr>
              <a:t>Small Projects Guide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14/03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3700" y="692150"/>
            <a:ext cx="616267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r>
              <a:rPr lang="en-GB"/>
              <a:t>Small Projects Guide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D1188E-9FEB-6917-B308-82CFE76539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BC4FC8A-588D-73F2-C1E5-FA1A201BC4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73E5FBD-45B8-5537-9378-434AE85EF6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FE514C-A93A-7A1E-14B8-88AC61C8A9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42698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hyperlink" Target="http://www.muuto.com/color-list" TargetMode="External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3.png"/><Relationship Id="rId11" Type="http://schemas.openxmlformats.org/officeDocument/2006/relationships/image" Target="../media/image20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lay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sosceles Triangle 4">
            <a:extLst>
              <a:ext uri="{FF2B5EF4-FFF2-40B4-BE49-F238E27FC236}">
                <a16:creationId xmlns:a16="http://schemas.microsoft.com/office/drawing/2014/main" id="{40565083-7E2B-49DC-98C8-A71D1BF37A33}"/>
              </a:ext>
            </a:extLst>
          </p:cNvPr>
          <p:cNvSpPr/>
          <p:nvPr userDrawn="1"/>
        </p:nvSpPr>
        <p:spPr>
          <a:xfrm>
            <a:off x="11057670" y="206756"/>
            <a:ext cx="867299" cy="325887"/>
          </a:xfrm>
          <a:custGeom>
            <a:avLst/>
            <a:gdLst>
              <a:gd name="connsiteX0" fmla="*/ 0 w 1784195"/>
              <a:gd name="connsiteY0" fmla="*/ 1081668 h 1081668"/>
              <a:gd name="connsiteX1" fmla="*/ 892098 w 1784195"/>
              <a:gd name="connsiteY1" fmla="*/ 0 h 1081668"/>
              <a:gd name="connsiteX2" fmla="*/ 1784195 w 1784195"/>
              <a:gd name="connsiteY2" fmla="*/ 1081668 h 1081668"/>
              <a:gd name="connsiteX3" fmla="*/ 0 w 1784195"/>
              <a:gd name="connsiteY3" fmla="*/ 1081668 h 1081668"/>
              <a:gd name="connsiteX0" fmla="*/ 0 w 1784196"/>
              <a:gd name="connsiteY0" fmla="*/ 323385 h 323385"/>
              <a:gd name="connsiteX1" fmla="*/ 1784196 w 1784196"/>
              <a:gd name="connsiteY1" fmla="*/ 0 h 323385"/>
              <a:gd name="connsiteX2" fmla="*/ 1784195 w 1784196"/>
              <a:gd name="connsiteY2" fmla="*/ 323385 h 323385"/>
              <a:gd name="connsiteX3" fmla="*/ 0 w 1784196"/>
              <a:gd name="connsiteY3" fmla="*/ 323385 h 323385"/>
              <a:gd name="connsiteX0" fmla="*/ 0 w 1784196"/>
              <a:gd name="connsiteY0" fmla="*/ 338475 h 338475"/>
              <a:gd name="connsiteX1" fmla="*/ 1784196 w 1784196"/>
              <a:gd name="connsiteY1" fmla="*/ 0 h 338475"/>
              <a:gd name="connsiteX2" fmla="*/ 1784195 w 1784196"/>
              <a:gd name="connsiteY2" fmla="*/ 338475 h 338475"/>
              <a:gd name="connsiteX3" fmla="*/ 0 w 1784196"/>
              <a:gd name="connsiteY3" fmla="*/ 338475 h 338475"/>
              <a:gd name="connsiteX0" fmla="*/ 0 w 1784195"/>
              <a:gd name="connsiteY0" fmla="*/ 344510 h 344510"/>
              <a:gd name="connsiteX1" fmla="*/ 1781178 w 1784195"/>
              <a:gd name="connsiteY1" fmla="*/ 0 h 344510"/>
              <a:gd name="connsiteX2" fmla="*/ 1784195 w 1784195"/>
              <a:gd name="connsiteY2" fmla="*/ 344510 h 344510"/>
              <a:gd name="connsiteX3" fmla="*/ 0 w 1784195"/>
              <a:gd name="connsiteY3" fmla="*/ 344510 h 344510"/>
              <a:gd name="connsiteX0" fmla="*/ 0 w 1784196"/>
              <a:gd name="connsiteY0" fmla="*/ 344510 h 344510"/>
              <a:gd name="connsiteX1" fmla="*/ 1784196 w 1784196"/>
              <a:gd name="connsiteY1" fmla="*/ 0 h 344510"/>
              <a:gd name="connsiteX2" fmla="*/ 1784195 w 1784196"/>
              <a:gd name="connsiteY2" fmla="*/ 344510 h 344510"/>
              <a:gd name="connsiteX3" fmla="*/ 0 w 1784196"/>
              <a:gd name="connsiteY3" fmla="*/ 344510 h 344510"/>
              <a:gd name="connsiteX0" fmla="*/ 0 w 1784196"/>
              <a:gd name="connsiteY0" fmla="*/ 344510 h 344510"/>
              <a:gd name="connsiteX1" fmla="*/ 1784196 w 1784196"/>
              <a:gd name="connsiteY1" fmla="*/ 0 h 344510"/>
              <a:gd name="connsiteX2" fmla="*/ 1784195 w 1784196"/>
              <a:gd name="connsiteY2" fmla="*/ 344510 h 344510"/>
              <a:gd name="connsiteX3" fmla="*/ 0 w 1784196"/>
              <a:gd name="connsiteY3" fmla="*/ 344510 h 344510"/>
              <a:gd name="connsiteX0" fmla="*/ 0 w 1017669"/>
              <a:gd name="connsiteY0" fmla="*/ 347527 h 347527"/>
              <a:gd name="connsiteX1" fmla="*/ 1017669 w 1017669"/>
              <a:gd name="connsiteY1" fmla="*/ 0 h 347527"/>
              <a:gd name="connsiteX2" fmla="*/ 1017668 w 1017669"/>
              <a:gd name="connsiteY2" fmla="*/ 344510 h 347527"/>
              <a:gd name="connsiteX3" fmla="*/ 0 w 1017669"/>
              <a:gd name="connsiteY3" fmla="*/ 347527 h 347527"/>
              <a:gd name="connsiteX0" fmla="*/ 0 w 1023704"/>
              <a:gd name="connsiteY0" fmla="*/ 347527 h 347528"/>
              <a:gd name="connsiteX1" fmla="*/ 1017669 w 1023704"/>
              <a:gd name="connsiteY1" fmla="*/ 0 h 347528"/>
              <a:gd name="connsiteX2" fmla="*/ 1023704 w 1023704"/>
              <a:gd name="connsiteY2" fmla="*/ 347528 h 347528"/>
              <a:gd name="connsiteX3" fmla="*/ 0 w 1023704"/>
              <a:gd name="connsiteY3" fmla="*/ 347527 h 347528"/>
              <a:gd name="connsiteX0" fmla="*/ 0 w 1017669"/>
              <a:gd name="connsiteY0" fmla="*/ 347527 h 347527"/>
              <a:gd name="connsiteX1" fmla="*/ 1017669 w 1017669"/>
              <a:gd name="connsiteY1" fmla="*/ 0 h 347527"/>
              <a:gd name="connsiteX2" fmla="*/ 1017668 w 1017669"/>
              <a:gd name="connsiteY2" fmla="*/ 344510 h 347527"/>
              <a:gd name="connsiteX3" fmla="*/ 0 w 1017669"/>
              <a:gd name="connsiteY3" fmla="*/ 347527 h 347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7669" h="347527">
                <a:moveTo>
                  <a:pt x="0" y="347527"/>
                </a:moveTo>
                <a:lnTo>
                  <a:pt x="1017669" y="0"/>
                </a:lnTo>
                <a:cubicBezTo>
                  <a:pt x="1017669" y="107795"/>
                  <a:pt x="1017668" y="236715"/>
                  <a:pt x="1017668" y="344510"/>
                </a:cubicBezTo>
                <a:lnTo>
                  <a:pt x="0" y="347527"/>
                </a:lnTo>
                <a:close/>
              </a:path>
            </a:pathLst>
          </a:cu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D4FE018A-77A4-4E11-91E8-4B933B3B62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73902" y="372973"/>
            <a:ext cx="510493" cy="26402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6C15790-C9A9-4817-AE1B-F1AB6F5BFAAF}"/>
              </a:ext>
            </a:extLst>
          </p:cNvPr>
          <p:cNvSpPr/>
          <p:nvPr userDrawn="1"/>
        </p:nvSpPr>
        <p:spPr>
          <a:xfrm>
            <a:off x="273381" y="529626"/>
            <a:ext cx="11651592" cy="94268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83D5D29-FFB5-4354-9D93-960392D2BE48}"/>
              </a:ext>
            </a:extLst>
          </p:cNvPr>
          <p:cNvSpPr/>
          <p:nvPr userDrawn="1"/>
        </p:nvSpPr>
        <p:spPr>
          <a:xfrm>
            <a:off x="266701" y="532642"/>
            <a:ext cx="5044888" cy="91252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D8E2ECE-0984-FFAB-0B06-B51271E4301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65969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">
          <p15:clr>
            <a:srgbClr val="FBAE40"/>
          </p15:clr>
        </p15:guide>
        <p15:guide id="2" pos="168" userDrawn="1">
          <p15:clr>
            <a:srgbClr val="FBAE40"/>
          </p15:clr>
        </p15:guide>
        <p15:guide id="3" pos="7518" userDrawn="1">
          <p15:clr>
            <a:srgbClr val="FBAE40"/>
          </p15:clr>
        </p15:guide>
        <p15:guide id="5" orient="horz" pos="661" userDrawn="1">
          <p15:clr>
            <a:srgbClr val="FBAE40"/>
          </p15:clr>
        </p15:guide>
        <p15:guide id="6" orient="horz" pos="38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1" y="1"/>
            <a:ext cx="3999231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9" y="2311401"/>
            <a:ext cx="3580117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4" y="2311403"/>
            <a:ext cx="3580117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4" y="4236721"/>
            <a:ext cx="3580117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9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9027292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F4E2A016-F3A3-4D66-8AA2-F5605903F91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9" name="Text Placeholder background">
            <a:extLst>
              <a:ext uri="{FF2B5EF4-FFF2-40B4-BE49-F238E27FC236}">
                <a16:creationId xmlns:a16="http://schemas.microsoft.com/office/drawing/2014/main" id="{DD25EEE2-5B12-DEF0-A3DD-E1243B0B020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51F33AF-5497-8237-ED41-6324D73A9327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188" y="1764000"/>
            <a:ext cx="7530620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       Press ENTER then TAB to view next text style                                                                 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237709" y="1764000"/>
            <a:ext cx="2596952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Press ENTER then TAB to view next text style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893C31-DFE7-452F-8997-24A43FFEEEA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04277A-8C12-44D3-A642-240D6F5A53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06875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background">
            <a:extLst>
              <a:ext uri="{FF2B5EF4-FFF2-40B4-BE49-F238E27FC236}">
                <a16:creationId xmlns:a16="http://schemas.microsoft.com/office/drawing/2014/main" id="{C8E9100A-A311-D9C9-5D2D-99F9C52870A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1E4A38D-F1CE-43CF-8916-A97751FEBE2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B684E5D-9D36-8C7F-AC03-EFC46C5EEE8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187" y="1764000"/>
            <a:ext cx="5557919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Press ENTER then TAB to view next text style                    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265007" y="1764000"/>
            <a:ext cx="4572793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Press ENTER then TAB to view next text style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EBDAF5-BC66-4E2A-99E6-1C2F10116ED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BDFF65-9BAF-46BE-A04D-731956E4134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308020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DBE31E2B-E5A0-42C4-A9A2-72357DF42C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0" name="Text Placeholder background">
            <a:extLst>
              <a:ext uri="{FF2B5EF4-FFF2-40B4-BE49-F238E27FC236}">
                <a16:creationId xmlns:a16="http://schemas.microsoft.com/office/drawing/2014/main" id="{D1A27470-75BC-6568-1903-6076794500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EDD1E5A-C089-4CDD-A907-2F4F7A0A74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278FFAB-07DB-E376-B8D2-907435330777}"/>
              </a:ext>
            </a:extLst>
          </p:cNvPr>
          <p:cNvSpPr>
            <a:spLocks noGrp="1"/>
          </p:cNvSpPr>
          <p:nvPr>
            <p:ph type="subTitle" idx="21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187" y="1764000"/>
            <a:ext cx="4571568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  Press ENTER then TAB to view next text style             Press SHIFT+TAB to view previous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 level</a:t>
            </a:r>
          </a:p>
          <a:p>
            <a:pPr lvl="6"/>
            <a:r>
              <a:rPr lang="en-GB" noProof="0" dirty="0"/>
              <a:t>7 level</a:t>
            </a:r>
          </a:p>
          <a:p>
            <a:pPr lvl="7"/>
            <a:r>
              <a:rPr lang="en-GB" noProof="0" dirty="0"/>
              <a:t>8 level</a:t>
            </a:r>
          </a:p>
          <a:p>
            <a:pPr lvl="8"/>
            <a:r>
              <a:rPr lang="en-GB" noProof="0" dirty="0"/>
              <a:t>9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8656" y="1764000"/>
            <a:ext cx="2598503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Press ENTER then TAB to view next text style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9238809" y="1764000"/>
            <a:ext cx="2598503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Press ENTER then TAB to view next text style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475CEC-B4D2-4360-B53A-97D13F073FD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E6C7F8-D421-42DA-9C85-2860E42FE81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082824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+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e Placeholder 2" hidden="1">
            <a:extLst>
              <a:ext uri="{FF2B5EF4-FFF2-40B4-BE49-F238E27FC236}">
                <a16:creationId xmlns:a16="http://schemas.microsoft.com/office/drawing/2014/main" id="{EAE83243-52AB-4697-728E-23AB45A741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Text Placeholder background">
            <a:extLst>
              <a:ext uri="{FF2B5EF4-FFF2-40B4-BE49-F238E27FC236}">
                <a16:creationId xmlns:a16="http://schemas.microsoft.com/office/drawing/2014/main" id="{34E063AA-AF1D-E6EB-1FD0-EFD05E9613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4" name="Text Placeholder 24">
            <a:extLst>
              <a:ext uri="{FF2B5EF4-FFF2-40B4-BE49-F238E27FC236}">
                <a16:creationId xmlns:a16="http://schemas.microsoft.com/office/drawing/2014/main" id="{D02C449E-5311-594C-E6FE-F093D01DD0D6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358961" y="1668623"/>
            <a:ext cx="10492488" cy="1649930"/>
          </a:xfrm>
        </p:spPr>
        <p:txBody>
          <a:bodyPr lIns="0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noProof="0" dirty="0"/>
              <a:t>Click to add headline</a:t>
            </a:r>
            <a:endParaRPr lang="en-GB" dirty="0"/>
          </a:p>
        </p:txBody>
      </p:sp>
      <p:sp>
        <p:nvSpPr>
          <p:cNvPr id="7" name="Text Placeholder h1">
            <a:extLst>
              <a:ext uri="{FF2B5EF4-FFF2-40B4-BE49-F238E27FC236}">
                <a16:creationId xmlns:a16="http://schemas.microsoft.com/office/drawing/2014/main" id="{C3D06205-EB73-D81F-B3FA-CECF51EC640C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358962" y="4431481"/>
            <a:ext cx="3586442" cy="318611"/>
          </a:xfr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9pPr>
          </a:lstStyle>
          <a:p>
            <a:pPr lvl="0"/>
            <a:r>
              <a:rPr lang="en-GB" noProof="0" dirty="0"/>
              <a:t>Click to add Headline</a:t>
            </a:r>
          </a:p>
        </p:txBody>
      </p:sp>
      <p:sp>
        <p:nvSpPr>
          <p:cNvPr id="41" name="Text Placeholder t1">
            <a:extLst>
              <a:ext uri="{FF2B5EF4-FFF2-40B4-BE49-F238E27FC236}">
                <a16:creationId xmlns:a16="http://schemas.microsoft.com/office/drawing/2014/main" id="{B8BA6897-1120-DFB2-7627-2580A85609C1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358961" y="4941870"/>
            <a:ext cx="3586442" cy="1145418"/>
          </a:xfrm>
        </p:spPr>
        <p:txBody>
          <a:bodyPr vert="horz" lIns="0" tIns="0" rIns="0" bIns="0" rtlCol="0">
            <a:noAutofit/>
          </a:bodyPr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400" dirty="0" smtClean="0"/>
            </a:lvl3pPr>
            <a:lvl4pPr>
              <a:defRPr lang="en-GB" sz="1400" dirty="0" smtClean="0"/>
            </a:lvl4pPr>
            <a:lvl5pPr>
              <a:defRPr lang="en-GB" sz="1400" dirty="0" smtClean="0"/>
            </a:lvl5pPr>
            <a:lvl6pPr>
              <a:defRPr lang="en-GB" dirty="0" smtClean="0"/>
            </a:lvl6pPr>
            <a:lvl7pPr>
              <a:defRPr lang="en-GB" dirty="0" smtClean="0"/>
            </a:lvl7pPr>
            <a:lvl8pPr>
              <a:defRPr lang="en-GB" dirty="0" smtClean="0"/>
            </a:lvl8pPr>
            <a:lvl9pPr>
              <a:defRPr lang="en-GB" dirty="0"/>
            </a:lvl9pPr>
          </a:lstStyle>
          <a:p>
            <a:pPr lvl="0"/>
            <a:r>
              <a:rPr lang="en-GB" noProof="0" dirty="0"/>
              <a:t>Click to add text                                           Press ENTER then TAB to view next text style                                                          Press SHIFT+TAB to view previous text style</a:t>
            </a:r>
            <a:endParaRPr lang="en-GB" dirty="0"/>
          </a:p>
          <a:p>
            <a:pPr lvl="8"/>
            <a:endParaRPr lang="en-GB" dirty="0"/>
          </a:p>
        </p:txBody>
      </p:sp>
      <p:sp>
        <p:nvSpPr>
          <p:cNvPr id="10" name="Text Placeholder h2">
            <a:extLst>
              <a:ext uri="{FF2B5EF4-FFF2-40B4-BE49-F238E27FC236}">
                <a16:creationId xmlns:a16="http://schemas.microsoft.com/office/drawing/2014/main" id="{4260B3C1-E8D4-FABB-91A9-F8BD5CFD46FB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4305955" y="4431481"/>
            <a:ext cx="3586442" cy="318611"/>
          </a:xfr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9pPr>
          </a:lstStyle>
          <a:p>
            <a:pPr lvl="0"/>
            <a:r>
              <a:rPr lang="en-GB" noProof="0" dirty="0"/>
              <a:t>Click to add Headline</a:t>
            </a:r>
          </a:p>
        </p:txBody>
      </p:sp>
      <p:sp>
        <p:nvSpPr>
          <p:cNvPr id="42" name="Text Placeholder t2">
            <a:extLst>
              <a:ext uri="{FF2B5EF4-FFF2-40B4-BE49-F238E27FC236}">
                <a16:creationId xmlns:a16="http://schemas.microsoft.com/office/drawing/2014/main" id="{1360B2A8-8E5D-BDEB-EF7B-86B770E48EDD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4305953" y="4941870"/>
            <a:ext cx="3587468" cy="1145418"/>
          </a:xfrm>
        </p:spPr>
        <p:txBody>
          <a:bodyPr vert="horz" lIns="0" tIns="0" rIns="0" bIns="0" rtlCol="0">
            <a:noAutofit/>
          </a:bodyPr>
          <a:lstStyle>
            <a:lvl1pPr>
              <a:defRPr lang="en-GB" sz="1400" dirty="0"/>
            </a:lvl1pPr>
            <a:lvl2pPr>
              <a:defRPr lang="en-GB" sz="1400" dirty="0"/>
            </a:lvl2pPr>
            <a:lvl3pPr>
              <a:defRPr lang="en-GB" sz="1400" dirty="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Press ENTER then TAB to view next text style                                                          Press SHIFT+TAB to view previous text style</a:t>
            </a:r>
            <a:endParaRPr lang="en-GB" dirty="0"/>
          </a:p>
          <a:p>
            <a:pPr lvl="8"/>
            <a:endParaRPr lang="en-GB" dirty="0"/>
          </a:p>
        </p:txBody>
      </p:sp>
      <p:sp>
        <p:nvSpPr>
          <p:cNvPr id="11" name="Text Placeholder h3">
            <a:extLst>
              <a:ext uri="{FF2B5EF4-FFF2-40B4-BE49-F238E27FC236}">
                <a16:creationId xmlns:a16="http://schemas.microsoft.com/office/drawing/2014/main" id="{767E19F5-410F-A7A4-DE85-0921FDCAE472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8251359" y="4431481"/>
            <a:ext cx="3586442" cy="318611"/>
          </a:xfr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9pPr>
          </a:lstStyle>
          <a:p>
            <a:pPr lvl="0"/>
            <a:r>
              <a:rPr lang="en-GB" noProof="0" dirty="0"/>
              <a:t>Click to add Headline</a:t>
            </a:r>
          </a:p>
        </p:txBody>
      </p:sp>
      <p:sp>
        <p:nvSpPr>
          <p:cNvPr id="43" name="Text Placeholder t3">
            <a:extLst>
              <a:ext uri="{FF2B5EF4-FFF2-40B4-BE49-F238E27FC236}">
                <a16:creationId xmlns:a16="http://schemas.microsoft.com/office/drawing/2014/main" id="{5BA938EF-AC36-8EFA-A9E7-96F213C21B65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8251359" y="4941870"/>
            <a:ext cx="3586442" cy="1145418"/>
          </a:xfrm>
        </p:spPr>
        <p:txBody>
          <a:bodyPr vert="horz" lIns="0" tIns="0" rIns="0" bIns="0" rtlCol="0">
            <a:noAutofit/>
          </a:bodyPr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400" dirty="0" smtClean="0"/>
            </a:lvl3pPr>
            <a:lvl4pPr>
              <a:defRPr lang="en-GB" sz="1400" dirty="0" smtClean="0"/>
            </a:lvl4pPr>
            <a:lvl5pPr>
              <a:defRPr lang="en-GB" sz="1400" dirty="0" smtClean="0"/>
            </a:lvl5pPr>
            <a:lvl6pPr>
              <a:defRPr lang="en-GB" dirty="0" smtClean="0"/>
            </a:lvl6pPr>
            <a:lvl7pPr>
              <a:defRPr lang="en-GB" dirty="0" smtClean="0"/>
            </a:lvl7pPr>
            <a:lvl8pPr>
              <a:defRPr lang="en-GB" dirty="0" smtClean="0"/>
            </a:lvl8pPr>
            <a:lvl9pPr>
              <a:defRPr lang="en-GB" dirty="0"/>
            </a:lvl9pPr>
          </a:lstStyle>
          <a:p>
            <a:pPr lvl="0"/>
            <a:r>
              <a:rPr lang="en-GB" noProof="0" dirty="0"/>
              <a:t>Click to add text                                           Press ENTER then TAB to view next text style                                                          Press SHIFT+TAB to view previous text style</a:t>
            </a:r>
            <a:endParaRPr lang="en-GB" dirty="0"/>
          </a:p>
          <a:p>
            <a:pPr lvl="8"/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9BBA23-6835-2CB6-F424-129020162816}"/>
              </a:ext>
            </a:extLst>
          </p:cNvPr>
          <p:cNvSpPr>
            <a:spLocks noGrp="1"/>
          </p:cNvSpPr>
          <p:nvPr>
            <p:ph type="ftr" sz="quarter" idx="108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48FD7F6-3CDA-0480-EB3E-188307BEB28D}"/>
              </a:ext>
            </a:extLst>
          </p:cNvPr>
          <p:cNvSpPr>
            <a:spLocks noGrp="1"/>
          </p:cNvSpPr>
          <p:nvPr>
            <p:ph type="sldNum" sz="quarter" idx="10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873855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D22E9E5B-6F1E-4B03-B368-998A878A535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0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7" name="Text Placeholder background">
            <a:extLst>
              <a:ext uri="{FF2B5EF4-FFF2-40B4-BE49-F238E27FC236}">
                <a16:creationId xmlns:a16="http://schemas.microsoft.com/office/drawing/2014/main" id="{5D92613D-D4B9-2254-3E52-75D313EBA4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0" name="Picture Placeholder 45">
            <a:extLst>
              <a:ext uri="{FF2B5EF4-FFF2-40B4-BE49-F238E27FC236}">
                <a16:creationId xmlns:a16="http://schemas.microsoft.com/office/drawing/2014/main" id="{8938A562-B105-D3B7-0EB3-4C682C854F2F}"/>
              </a:ext>
            </a:extLst>
          </p:cNvPr>
          <p:cNvSpPr>
            <a:spLocks noGrp="1"/>
          </p:cNvSpPr>
          <p:nvPr>
            <p:ph type="pic" sz="quarter" idx="109" hasCustomPrompt="1"/>
          </p:nvPr>
        </p:nvSpPr>
        <p:spPr>
          <a:xfrm>
            <a:off x="7263781" y="0"/>
            <a:ext cx="4934569" cy="6858000"/>
          </a:xfrm>
          <a:solidFill>
            <a:schemeClr val="bg1">
              <a:lumMod val="85000"/>
            </a:schemeClr>
          </a:solidFill>
        </p:spPr>
        <p:txBody>
          <a:bodyPr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4570779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3517978-FF4C-1A59-0E5F-5086370E000F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4570779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188" y="1764000"/>
            <a:ext cx="4570779" cy="4356000"/>
          </a:xfrm>
        </p:spPr>
        <p:txBody>
          <a:bodyPr anchor="b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Press ENTER then TAB to view next text style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707E24-E5D8-42CD-90FA-C443808E407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D94224-8F77-42E8-A2DC-E8EA002DD75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906454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e Placeholder 2" hidden="1">
            <a:extLst>
              <a:ext uri="{FF2B5EF4-FFF2-40B4-BE49-F238E27FC236}">
                <a16:creationId xmlns:a16="http://schemas.microsoft.com/office/drawing/2014/main" id="{EAE83243-52AB-4697-728E-23AB45A741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A5C8FC62-8A3C-A84A-17BC-4A384CDB0FAA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AF1A12E2-ECD6-C4D1-2A88-A15C9AADF1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1768288"/>
            <a:ext cx="1257054" cy="12636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48" name="Picture Placeholder 5">
            <a:extLst>
              <a:ext uri="{FF2B5EF4-FFF2-40B4-BE49-F238E27FC236}">
                <a16:creationId xmlns:a16="http://schemas.microsoft.com/office/drawing/2014/main" id="{F4D02799-279A-21F8-37EF-B90AFFDBBB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558653" y="176828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9" name="Picture Placeholder 13">
            <a:extLst>
              <a:ext uri="{FF2B5EF4-FFF2-40B4-BE49-F238E27FC236}">
                <a16:creationId xmlns:a16="http://schemas.microsoft.com/office/drawing/2014/main" id="{DD792FFF-BB7E-B051-7BD5-744D0675ADD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977430" y="176828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A77B3EE6-57AB-23B0-48B3-EC706952D2A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75895" y="176828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1" name="Picture Placeholder 18">
            <a:extLst>
              <a:ext uri="{FF2B5EF4-FFF2-40B4-BE49-F238E27FC236}">
                <a16:creationId xmlns:a16="http://schemas.microsoft.com/office/drawing/2014/main" id="{E3435057-7242-8A11-EFB8-50331B81442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60188" y="345053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2" name="Picture Placeholder 15">
            <a:extLst>
              <a:ext uri="{FF2B5EF4-FFF2-40B4-BE49-F238E27FC236}">
                <a16:creationId xmlns:a16="http://schemas.microsoft.com/office/drawing/2014/main" id="{E9576A22-6010-2FF0-CF01-D3C959A9642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977430" y="345053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3" name="Picture Placeholder 21">
            <a:extLst>
              <a:ext uri="{FF2B5EF4-FFF2-40B4-BE49-F238E27FC236}">
                <a16:creationId xmlns:a16="http://schemas.microsoft.com/office/drawing/2014/main" id="{DE52E6BB-A171-CFAE-5982-8E2C2D0E919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58653" y="345053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4" name="Picture Placeholder 4">
            <a:extLst>
              <a:ext uri="{FF2B5EF4-FFF2-40B4-BE49-F238E27FC236}">
                <a16:creationId xmlns:a16="http://schemas.microsoft.com/office/drawing/2014/main" id="{B0614E32-9FC2-097F-BE81-5819325DFCE2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5175895" y="345053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5" name="Text Placeholder 23">
            <a:extLst>
              <a:ext uri="{FF2B5EF4-FFF2-40B4-BE49-F238E27FC236}">
                <a16:creationId xmlns:a16="http://schemas.microsoft.com/office/drawing/2014/main" id="{3BD304F5-2582-877C-03FC-1416E905ABB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0188" y="3094340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6" name="Text Placeholder 25">
            <a:extLst>
              <a:ext uri="{FF2B5EF4-FFF2-40B4-BE49-F238E27FC236}">
                <a16:creationId xmlns:a16="http://schemas.microsoft.com/office/drawing/2014/main" id="{C17C1F76-91E9-2EF7-94BB-1CE69005653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77430" y="3094340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7" name="Text Placeholder 27">
            <a:extLst>
              <a:ext uri="{FF2B5EF4-FFF2-40B4-BE49-F238E27FC236}">
                <a16:creationId xmlns:a16="http://schemas.microsoft.com/office/drawing/2014/main" id="{0BD100E9-5532-0CDB-EE8E-CDCF580487F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58653" y="30944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8" name="Text Placeholder 29">
            <a:extLst>
              <a:ext uri="{FF2B5EF4-FFF2-40B4-BE49-F238E27FC236}">
                <a16:creationId xmlns:a16="http://schemas.microsoft.com/office/drawing/2014/main" id="{369CD10F-055C-E941-F6E3-C03C969C15A6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175895" y="30944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9" name="Text Placeholder 35">
            <a:extLst>
              <a:ext uri="{FF2B5EF4-FFF2-40B4-BE49-F238E27FC236}">
                <a16:creationId xmlns:a16="http://schemas.microsoft.com/office/drawing/2014/main" id="{7D889F20-6FB6-03EF-9E67-A20C62C9BA3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0188" y="4777536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60" name="Text Placeholder 37">
            <a:extLst>
              <a:ext uri="{FF2B5EF4-FFF2-40B4-BE49-F238E27FC236}">
                <a16:creationId xmlns:a16="http://schemas.microsoft.com/office/drawing/2014/main" id="{EF3E7AF8-2865-42FB-1302-E33C88BEB28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77430" y="47792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61" name="Text Placeholder 39">
            <a:extLst>
              <a:ext uri="{FF2B5EF4-FFF2-40B4-BE49-F238E27FC236}">
                <a16:creationId xmlns:a16="http://schemas.microsoft.com/office/drawing/2014/main" id="{93232003-3FBD-D55E-EB1B-210F53BA740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558653" y="47792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62" name="Text Placeholder 41">
            <a:extLst>
              <a:ext uri="{FF2B5EF4-FFF2-40B4-BE49-F238E27FC236}">
                <a16:creationId xmlns:a16="http://schemas.microsoft.com/office/drawing/2014/main" id="{A8BFB2EE-1EE5-D23F-CB10-52405CB55C6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175895" y="47792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014B866C-BD0C-B645-BBD7-21AFDF74324C}"/>
              </a:ext>
            </a:extLst>
          </p:cNvPr>
          <p:cNvSpPr>
            <a:spLocks noGrp="1"/>
          </p:cNvSpPr>
          <p:nvPr>
            <p:ph type="pic" sz="quarter" idx="109" hasCustomPrompt="1"/>
          </p:nvPr>
        </p:nvSpPr>
        <p:spPr>
          <a:xfrm>
            <a:off x="7263781" y="0"/>
            <a:ext cx="4934569" cy="6858000"/>
          </a:xfrm>
          <a:solidFill>
            <a:schemeClr val="bg1"/>
          </a:solidFill>
        </p:spPr>
        <p:txBody>
          <a:bodyPr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B8BA6897-1120-DFB2-7627-2580A85609C1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358961" y="5122800"/>
            <a:ext cx="2874296" cy="997200"/>
          </a:xfrm>
        </p:spPr>
        <p:txBody>
          <a:bodyPr vert="horz" lIns="0" tIns="0" rIns="0" bIns="0" rtlCol="0">
            <a:noAutofit/>
          </a:bodyPr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400" dirty="0" smtClean="0"/>
            </a:lvl3pPr>
            <a:lvl4pPr>
              <a:defRPr lang="en-GB" sz="1400" dirty="0" smtClean="0"/>
            </a:lvl4pPr>
            <a:lvl5pPr>
              <a:defRPr lang="en-GB" sz="1400" dirty="0" smtClean="0"/>
            </a:lvl5pPr>
            <a:lvl6pPr>
              <a:defRPr lang="en-GB" dirty="0" smtClean="0"/>
            </a:lvl6pPr>
            <a:lvl7pPr>
              <a:defRPr lang="en-GB" dirty="0" smtClean="0"/>
            </a:lvl7pPr>
            <a:lvl8pPr>
              <a:defRPr lang="en-GB" dirty="0" smtClean="0"/>
            </a:lvl8pPr>
            <a:lvl9pPr>
              <a:defRPr lang="en-GB" dirty="0"/>
            </a:lvl9pPr>
          </a:lstStyle>
          <a:p>
            <a:pPr lvl="0"/>
            <a:r>
              <a:rPr lang="en-GB" noProof="0" dirty="0"/>
              <a:t>Click to add text                           Press ENTER then TAB to view next text style                         Press SHIFT+TAB to view previous text style</a:t>
            </a:r>
            <a:endParaRPr lang="en-GB" dirty="0"/>
          </a:p>
          <a:p>
            <a:pPr lvl="8"/>
            <a:endParaRPr lang="en-GB" dirty="0"/>
          </a:p>
        </p:txBody>
      </p:sp>
      <p:sp>
        <p:nvSpPr>
          <p:cNvPr id="39" name="Footer Placeholder 38">
            <a:extLst>
              <a:ext uri="{FF2B5EF4-FFF2-40B4-BE49-F238E27FC236}">
                <a16:creationId xmlns:a16="http://schemas.microsoft.com/office/drawing/2014/main" id="{55A91BD2-7E49-C0B4-94B7-11A23F160291}"/>
              </a:ext>
            </a:extLst>
          </p:cNvPr>
          <p:cNvSpPr>
            <a:spLocks noGrp="1"/>
          </p:cNvSpPr>
          <p:nvPr>
            <p:ph type="ftr" sz="quarter" idx="107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40" name="Slide Number Placeholder 39">
            <a:extLst>
              <a:ext uri="{FF2B5EF4-FFF2-40B4-BE49-F238E27FC236}">
                <a16:creationId xmlns:a16="http://schemas.microsoft.com/office/drawing/2014/main" id="{CDC628C0-9BB7-C9E3-3A4E-7D837B05AD31}"/>
              </a:ext>
            </a:extLst>
          </p:cNvPr>
          <p:cNvSpPr>
            <a:spLocks noGrp="1"/>
          </p:cNvSpPr>
          <p:nvPr>
            <p:ph type="sldNum" sz="quarter" idx="108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784262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2EE0E2BD-48D1-4D47-8342-791206DBA9E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Text Placeholder background">
            <a:extLst>
              <a:ext uri="{FF2B5EF4-FFF2-40B4-BE49-F238E27FC236}">
                <a16:creationId xmlns:a16="http://schemas.microsoft.com/office/drawing/2014/main" id="{EB36702A-A44D-425A-A9FA-6A0926B0F79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1764000"/>
            <a:ext cx="3944053" cy="5094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04241" y="360000"/>
            <a:ext cx="3584853" cy="4719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251358" y="3578400"/>
            <a:ext cx="3583866" cy="21888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6" y="360000"/>
            <a:ext cx="3583866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06EBDE00-5963-85A6-2E80-F6F4E7A6EA09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3583866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5679" y="6073200"/>
            <a:ext cx="2778778" cy="432000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84335" y="4846404"/>
            <a:ext cx="2780673" cy="432000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FD7635F-522B-48C8-8BDC-03DF50688E4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33654" y="5530245"/>
            <a:ext cx="2776756" cy="432000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688CCA-09B2-4E65-A717-E5EA6ED5CCE8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99E7C01-DC5F-4CBE-B02A-7E633A21663E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616370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91C074F6-B33E-4F9F-B11A-8BF68E4EA7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3" name="Text Placeholder background">
            <a:extLst>
              <a:ext uri="{FF2B5EF4-FFF2-40B4-BE49-F238E27FC236}">
                <a16:creationId xmlns:a16="http://schemas.microsoft.com/office/drawing/2014/main" id="{34E8A825-2C85-42D1-AA58-57656F0AE85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764000"/>
            <a:ext cx="4931755" cy="5094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294756" y="1764000"/>
            <a:ext cx="3582403" cy="268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40160" y="3816000"/>
            <a:ext cx="2597640" cy="2681638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8518434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183923D3-5812-6239-AE30-CA88436BD923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851843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21586" y="6072539"/>
            <a:ext cx="2769222" cy="432001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72398" y="4210890"/>
            <a:ext cx="2778960" cy="432000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3D2840-BCD6-46B3-980D-0532CB1ADAE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17094" y="3625410"/>
            <a:ext cx="1793317" cy="432000"/>
          </a:xfrm>
        </p:spPr>
        <p:txBody>
          <a:bodyPr anchor="b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832DB0-A72E-412E-8EC1-4208F4332274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6E5EE9D-D9BB-418C-8376-A34AA9C1AAF0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807243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C8A03455-1886-482F-B215-D0F51809F0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3" name="Text Placeholder background">
            <a:extLst>
              <a:ext uri="{FF2B5EF4-FFF2-40B4-BE49-F238E27FC236}">
                <a16:creationId xmlns:a16="http://schemas.microsoft.com/office/drawing/2014/main" id="{A487D1F4-8FC5-40AA-90FF-BB1E8D53735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7" y="1764000"/>
            <a:ext cx="2598503" cy="2736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17652" y="2520000"/>
            <a:ext cx="3586806" cy="2736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265006" y="0"/>
            <a:ext cx="4933343" cy="6858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DC7CB40-31F6-A6B6-65EA-6E2421868EF9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6544607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9056" y="4270242"/>
            <a:ext cx="2262753" cy="432000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97745" y="2340800"/>
            <a:ext cx="2780911" cy="432000"/>
          </a:xfrm>
        </p:spPr>
        <p:txBody>
          <a:bodyPr anchor="b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3D2840-BCD6-46B3-980D-0532CB1ADAE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955" y="6073200"/>
            <a:ext cx="2778957" cy="432000"/>
          </a:xfrm>
        </p:spPr>
        <p:txBody>
          <a:bodyPr anchor="b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B18F46-B5A1-40D3-9A0A-B3E56A562011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2A824F9-FD00-457E-828C-398CD5D86A1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907705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94B30BE3-926B-4867-95CC-C7920E0C24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Text Placeholder background">
            <a:extLst>
              <a:ext uri="{FF2B5EF4-FFF2-40B4-BE49-F238E27FC236}">
                <a16:creationId xmlns:a16="http://schemas.microsoft.com/office/drawing/2014/main" id="{EB36702A-A44D-425A-A9FA-6A0926B0F79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2689200"/>
            <a:ext cx="2959053" cy="41688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19703" y="2689200"/>
            <a:ext cx="3584754" cy="23328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265006" y="358776"/>
            <a:ext cx="4573156" cy="6138862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C85E3043-5317-6424-A94A-A4824FC5BA2F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6544607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8963" y="2502371"/>
            <a:ext cx="1972701" cy="432000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1022" y="4795186"/>
            <a:ext cx="2777634" cy="432000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3D2840-BCD6-46B3-980D-0532CB1ADAE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31755" y="6073200"/>
            <a:ext cx="2150756" cy="432000"/>
          </a:xfrm>
        </p:spPr>
        <p:txBody>
          <a:bodyPr anchor="b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BEEBFC-DD8A-4AD3-9877-1A3F23E5ED76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511ABCEB-3EA0-49D2-B4E9-59C01B8EDC8D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78756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3" y="1137923"/>
            <a:ext cx="2768600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9433504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773C0342-9ADB-4D4B-AF32-66CA841A1E2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Text Placeholder background">
            <a:extLst>
              <a:ext uri="{FF2B5EF4-FFF2-40B4-BE49-F238E27FC236}">
                <a16:creationId xmlns:a16="http://schemas.microsoft.com/office/drawing/2014/main" id="{EB36702A-A44D-425A-A9FA-6A0926B0F79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4086000"/>
            <a:ext cx="2959053" cy="2772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19703" y="1764000"/>
            <a:ext cx="3584754" cy="3348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265006" y="358776"/>
            <a:ext cx="4573156" cy="4753224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6" y="360000"/>
            <a:ext cx="6544271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CA9FEC6E-BE23-13CE-DD69-5A24F18C2FB0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6544607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8963" y="3796132"/>
            <a:ext cx="1972701" cy="432000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1022" y="4987932"/>
            <a:ext cx="1790921" cy="432000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FD7635F-522B-48C8-8BDC-03DF50688E4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46427" y="4987933"/>
            <a:ext cx="1790922" cy="432000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738F88-05DA-4D0F-85C2-7B464B507DC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1345314" y="6315616"/>
            <a:ext cx="1613740" cy="180000"/>
          </a:xfrm>
        </p:spPr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9997AE7-A864-4BB1-8F0A-6C4A0293F1A0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272878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board">
    <p:bg>
      <p:bgPr>
        <a:solidFill>
          <a:srgbClr val="DBD4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B89372E2-3CC5-4776-9171-F91D4E0F00F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4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Text Placeholder background">
            <a:extLst>
              <a:ext uri="{FF2B5EF4-FFF2-40B4-BE49-F238E27FC236}">
                <a16:creationId xmlns:a16="http://schemas.microsoft.com/office/drawing/2014/main" id="{8130B635-30E9-4563-BAC9-AA40416C146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DBD4AA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981031" cy="2664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331663" y="1296000"/>
            <a:ext cx="1981031" cy="207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3780000"/>
            <a:ext cx="3945404" cy="207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05954" y="4536000"/>
            <a:ext cx="2598504" cy="1961638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294756" y="1998000"/>
            <a:ext cx="2595801" cy="216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265008" y="360000"/>
            <a:ext cx="2601678" cy="1296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251358" y="1998000"/>
            <a:ext cx="3946992" cy="486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16FF16-8AB3-4A99-B458-6AFCAEB322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0188" y="2770095"/>
            <a:ext cx="1431443" cy="595905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5542A18-E35A-4959-9BCA-38191C8A5F8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331662" y="5951726"/>
            <a:ext cx="1613741" cy="363891"/>
          </a:xfrm>
        </p:spPr>
        <p:txBody>
          <a:bodyPr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9F4C81B5-0E40-4CBF-BB82-FA3112DCAF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31665" y="358775"/>
            <a:ext cx="1613740" cy="855506"/>
          </a:xfrm>
        </p:spPr>
        <p:txBody>
          <a:bodyPr anchor="b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030658A2-871D-4640-A779-B131EE465D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92306" y="1486425"/>
            <a:ext cx="1612152" cy="432000"/>
          </a:xfrm>
        </p:spPr>
        <p:txBody>
          <a:bodyPr anchor="b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BE9462B7-B185-46B5-8C68-132F89815D1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085949" y="5951726"/>
            <a:ext cx="804609" cy="551500"/>
          </a:xfrm>
        </p:spPr>
        <p:txBody>
          <a:bodyPr anchor="b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E4550DBD-212F-4FF4-967D-B1BD3826890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300634" y="358775"/>
            <a:ext cx="1785314" cy="432000"/>
          </a:xfrm>
        </p:spPr>
        <p:txBody>
          <a:bodyPr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3403082B-8D65-4142-BB8D-4D74D07167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24060" y="1616928"/>
            <a:ext cx="1613740" cy="301497"/>
          </a:xfrm>
        </p:spPr>
        <p:txBody>
          <a:bodyPr anchor="b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7CCA1A1-22EC-43BD-A4F5-3C91F945E8A8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72FF57-81FA-4EC5-BE10-F87B98FC8D0B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925442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board w. text">
    <p:bg>
      <p:bgPr>
        <a:solidFill>
          <a:srgbClr val="2228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 hidden="1">
            <a:extLst>
              <a:ext uri="{FF2B5EF4-FFF2-40B4-BE49-F238E27FC236}">
                <a16:creationId xmlns:a16="http://schemas.microsoft.com/office/drawing/2014/main" id="{642DCFFC-91CD-3FDB-7163-F6424308237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22283E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8" y="1918800"/>
            <a:ext cx="3220076" cy="40788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902152" y="0"/>
            <a:ext cx="1624446" cy="2163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6B1658D0-97B7-57A7-BA99-5908D8948DEE}"/>
              </a:ext>
            </a:extLst>
          </p:cNvPr>
          <p:cNvSpPr>
            <a:spLocks noGrp="1"/>
          </p:cNvSpPr>
          <p:nvPr>
            <p:ph type="pic" sz="quarter" idx="93" hasCustomPrompt="1"/>
          </p:nvPr>
        </p:nvSpPr>
        <p:spPr>
          <a:xfrm>
            <a:off x="7805263" y="0"/>
            <a:ext cx="4113341" cy="3045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6CDD5FA-DEDB-54C0-29EB-2849429B08AA}"/>
              </a:ext>
            </a:extLst>
          </p:cNvPr>
          <p:cNvSpPr>
            <a:spLocks noGrp="1"/>
          </p:cNvSpPr>
          <p:nvPr>
            <p:ph type="pic" sz="quarter" idx="94" hasCustomPrompt="1"/>
          </p:nvPr>
        </p:nvSpPr>
        <p:spPr>
          <a:xfrm>
            <a:off x="4232203" y="3114000"/>
            <a:ext cx="1786530" cy="18072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3" name="Picture Placeholder 13">
            <a:extLst>
              <a:ext uri="{FF2B5EF4-FFF2-40B4-BE49-F238E27FC236}">
                <a16:creationId xmlns:a16="http://schemas.microsoft.com/office/drawing/2014/main" id="{6B2E8A5C-FE7B-359E-81ED-21D3337570B1}"/>
              </a:ext>
            </a:extLst>
          </p:cNvPr>
          <p:cNvSpPr>
            <a:spLocks noGrp="1"/>
          </p:cNvSpPr>
          <p:nvPr>
            <p:ph type="pic" sz="quarter" idx="98" hasCustomPrompt="1"/>
          </p:nvPr>
        </p:nvSpPr>
        <p:spPr>
          <a:xfrm>
            <a:off x="6674274" y="4320000"/>
            <a:ext cx="3374957" cy="25380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4844522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4844522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188" y="1364400"/>
            <a:ext cx="1971476" cy="432000"/>
          </a:xfrm>
        </p:spPr>
        <p:txBody>
          <a:bodyPr anchor="b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5B5F57F6-8F8F-845B-2223-019B5A26AAE7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0224060" y="5889600"/>
            <a:ext cx="1613640" cy="856800"/>
          </a:xfrm>
        </p:spPr>
        <p:txBody>
          <a:bodyPr anchor="b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6B925E3-C070-A84E-0AE0-65C25A1026D6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9865099" y="3229200"/>
            <a:ext cx="1972702" cy="576000"/>
          </a:xfrm>
        </p:spPr>
        <p:txBody>
          <a:bodyPr anchor="t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62089B-BD03-644A-60BD-04310CC8A944}"/>
              </a:ext>
            </a:extLst>
          </p:cNvPr>
          <p:cNvSpPr>
            <a:spLocks noGrp="1"/>
          </p:cNvSpPr>
          <p:nvPr>
            <p:ph type="ftr" sz="quarter" idx="9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16D9CF-8C52-3521-18A2-14114F49FD31}"/>
              </a:ext>
            </a:extLst>
          </p:cNvPr>
          <p:cNvSpPr>
            <a:spLocks noGrp="1"/>
          </p:cNvSpPr>
          <p:nvPr>
            <p:ph type="sldNum" sz="quarter" idx="10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56100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A">
    <p:bg>
      <p:bgPr>
        <a:solidFill>
          <a:srgbClr val="C5DB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7D01AFF7-5FA2-4444-8FED-935918450D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A6EF560F-470F-466E-860C-B64C432C5ED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ltGray">
          <a:xfrm>
            <a:off x="0" y="0"/>
            <a:ext cx="12198350" cy="6858000"/>
          </a:xfrm>
          <a:solidFill>
            <a:srgbClr val="E2F1F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8" y="360000"/>
            <a:ext cx="6537403" cy="5796000"/>
          </a:xfrm>
        </p:spPr>
        <p:txBody>
          <a:bodyPr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238809" y="360000"/>
            <a:ext cx="2596952" cy="270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text               Press ENTER then TAB to view next text style         Press SHIFT+TAB to view previous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238809" y="3373200"/>
            <a:ext cx="2596952" cy="270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text                   Press ENTER then TAB to view next text style             Press SHIFT+TAB to view previous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 level</a:t>
            </a:r>
          </a:p>
          <a:p>
            <a:pPr lvl="6"/>
            <a:r>
              <a:rPr lang="en-GB" noProof="0" dirty="0"/>
              <a:t>7 level</a:t>
            </a:r>
          </a:p>
          <a:p>
            <a:pPr lvl="7"/>
            <a:r>
              <a:rPr lang="en-GB" noProof="0" dirty="0"/>
              <a:t>8 level</a:t>
            </a:r>
          </a:p>
          <a:p>
            <a:pPr lvl="8"/>
            <a:r>
              <a:rPr lang="en-GB" noProof="0" dirty="0"/>
              <a:t>9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9F151-F887-446A-BDB1-E70C4544F0D6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353671-8D18-4C4F-94F1-D57CA37BE1C7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2938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B">
    <p:bg>
      <p:bgPr>
        <a:solidFill>
          <a:srgbClr val="E5F5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084B9691-4D2C-446F-BF9D-B76FC0274CB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5E2E1AE4-F854-40BF-9784-DF7DFD9161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5F5E4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906E3D3-FF54-41ED-B4FA-86CF6E9B3BC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890808" y="360000"/>
            <a:ext cx="3944053" cy="2700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4556372" cy="5148000"/>
          </a:xfrm>
        </p:spPr>
        <p:txBody>
          <a:bodyPr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31735" y="3420000"/>
            <a:ext cx="2586371" cy="234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text                   Press ENTER then TAB to view next text style             Press SHIFT+TAB to view previous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 level</a:t>
            </a:r>
          </a:p>
          <a:p>
            <a:pPr lvl="6"/>
            <a:r>
              <a:rPr lang="en-GB" noProof="0" dirty="0"/>
              <a:t>7 level</a:t>
            </a:r>
          </a:p>
          <a:p>
            <a:pPr lvl="7"/>
            <a:r>
              <a:rPr lang="en-GB" noProof="0" dirty="0"/>
              <a:t>8 level</a:t>
            </a:r>
          </a:p>
          <a:p>
            <a:pPr lvl="8"/>
            <a:r>
              <a:rPr lang="en-GB" noProof="0" dirty="0"/>
              <a:t>9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695239E-96E4-8F24-180F-240795B0E0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71802" y="2822037"/>
            <a:ext cx="2779647" cy="432000"/>
          </a:xfrm>
        </p:spPr>
        <p:txBody>
          <a:bodyPr anchor="t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89066D-EE07-4156-AD43-52A047B035B5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B2914B-BD88-49C7-9C7F-8BA2AA1ED75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55157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C">
    <p:bg>
      <p:bgPr>
        <a:solidFill>
          <a:srgbClr val="ECE8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9D0DFDB0-5500-422C-A7A9-C1B80C46FB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5" name="Text Placeholder background">
            <a:extLst>
              <a:ext uri="{FF2B5EF4-FFF2-40B4-BE49-F238E27FC236}">
                <a16:creationId xmlns:a16="http://schemas.microsoft.com/office/drawing/2014/main" id="{D2E0EEEA-3407-4641-A4AB-4E89B3D363A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1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50A3361E-A400-46E5-9025-A1EAD7012EF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" y="0"/>
            <a:ext cx="4931755" cy="6858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906E3D3-FF54-41ED-B4FA-86CF6E9B3BC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251358" y="360637"/>
            <a:ext cx="3586441" cy="53208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7" y="360001"/>
            <a:ext cx="4214194" cy="1229119"/>
          </a:xfrm>
        </p:spPr>
        <p:txBody>
          <a:bodyPr wrap="square">
            <a:sp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D7C7530-9D20-25CC-CFAB-5C7969B357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12386" y="6073200"/>
            <a:ext cx="1792072" cy="432000"/>
          </a:xfrm>
        </p:spPr>
        <p:txBody>
          <a:bodyPr anchor="b" anchorCtr="0"/>
          <a:lstStyle>
            <a:lvl1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B778169-DC79-1C47-B8D0-E50ADF4CEC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31987" y="5445999"/>
            <a:ext cx="1792073" cy="432000"/>
          </a:xfrm>
        </p:spPr>
        <p:txBody>
          <a:bodyPr anchor="t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BD834F-B869-4B01-BC3B-AD99B2C8320B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F5F185-5AB2-49B5-86FC-C2D8B46DB7B0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49082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D">
    <p:bg>
      <p:bgPr>
        <a:solidFill>
          <a:srgbClr val="2228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5AA15CFC-BDC3-4978-AD4B-F033222763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Text Placeholder background">
            <a:extLst>
              <a:ext uri="{FF2B5EF4-FFF2-40B4-BE49-F238E27FC236}">
                <a16:creationId xmlns:a16="http://schemas.microsoft.com/office/drawing/2014/main" id="{29089519-7599-4136-B4A5-1FAF7FAC907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22283E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906E3D3-FF54-41ED-B4FA-86CF6E9B3BC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11181" y="0"/>
            <a:ext cx="6087169" cy="6858000"/>
          </a:xfrm>
          <a:solidFill>
            <a:schemeClr val="tx1">
              <a:lumMod val="75000"/>
            </a:schemeClr>
          </a:solidFill>
        </p:spPr>
        <p:txBody>
          <a:bodyPr lIns="0" tIns="0" bIns="72000" anchor="b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here and insert picture via Insert &gt; Pictures</a:t>
            </a: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50A3361E-A400-46E5-9025-A1EAD7012EF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3583866" cy="1908000"/>
          </a:xfrm>
          <a:solidFill>
            <a:schemeClr val="tx1">
              <a:lumMod val="7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C75E9C3E-785A-4E0A-A170-AD1A52C1F2B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786398" y="4860000"/>
            <a:ext cx="2917519" cy="1638000"/>
          </a:xfrm>
          <a:solidFill>
            <a:schemeClr val="tx1">
              <a:lumMod val="7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47356" y="360000"/>
            <a:ext cx="3421781" cy="3960000"/>
          </a:xfrm>
        </p:spPr>
        <p:txBody>
          <a:bodyPr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12CB135-C014-0010-D6F0-7B78E44E2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188" y="1665763"/>
            <a:ext cx="1971476" cy="432000"/>
          </a:xfrm>
        </p:spPr>
        <p:txBody>
          <a:bodyPr anchor="t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0B13DD4B-B99C-732E-EDFD-D5B5430DA8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66492" y="4683967"/>
            <a:ext cx="1965263" cy="432000"/>
          </a:xfrm>
        </p:spPr>
        <p:txBody>
          <a:bodyPr anchor="b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9B1785-0A11-4D40-98BD-1585C2C3C28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1345314" y="6315616"/>
            <a:ext cx="1441084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9FA235-2B84-4F20-9EC3-3CCD8C3B14F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70176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E">
    <p:bg>
      <p:bgPr>
        <a:solidFill>
          <a:srgbClr val="3C0E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FADCBA6-0C97-4AE4-B298-34EF30EBB3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3C0E18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4556372" cy="3060000"/>
          </a:xfrm>
        </p:spPr>
        <p:txBody>
          <a:bodyPr/>
          <a:lstStyle>
            <a:lvl1pPr>
              <a:defRPr sz="4800">
                <a:solidFill>
                  <a:srgbClr val="ECE8DD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E56037-223D-4AB6-9059-CCFD057AC00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45314" y="1080000"/>
            <a:ext cx="5564284" cy="4698000"/>
          </a:xfrm>
        </p:spPr>
        <p:txBody>
          <a:bodyPr anchor="b"/>
          <a:lstStyle>
            <a:lvl1pPr marL="0" indent="0" algn="r">
              <a:lnSpc>
                <a:spcPct val="83000"/>
              </a:lnSpc>
              <a:spcAft>
                <a:spcPts val="0"/>
              </a:spcAft>
              <a:buNone/>
              <a:defRPr sz="9600">
                <a:solidFill>
                  <a:srgbClr val="89BCE7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2EFC67-F023-4686-A2C3-4063332223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75787" y="360000"/>
            <a:ext cx="4562013" cy="3474000"/>
          </a:xfrm>
        </p:spPr>
        <p:txBody>
          <a:bodyPr anchor="b"/>
          <a:lstStyle>
            <a:lvl1pPr marL="0" indent="0">
              <a:lnSpc>
                <a:spcPct val="83000"/>
              </a:lnSpc>
              <a:spcAft>
                <a:spcPts val="0"/>
              </a:spcAft>
              <a:buNone/>
              <a:defRPr sz="9600">
                <a:solidFill>
                  <a:srgbClr val="89BCE7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9602" y="1170000"/>
            <a:ext cx="2605482" cy="2353593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037D0F49-8C55-4D74-B551-833FFE8CC40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38809" y="3381704"/>
            <a:ext cx="2178084" cy="2288297"/>
          </a:xfrm>
        </p:spPr>
        <p:txBody>
          <a:bodyPr anchor="t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52925D-2F91-4818-B34D-7539CBDBE16E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5F525A-4A0F-438E-AC47-DE74FE2F179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04887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F">
    <p:bg>
      <p:bgPr>
        <a:solidFill>
          <a:srgbClr val="3C0E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 hidden="1">
            <a:extLst>
              <a:ext uri="{FF2B5EF4-FFF2-40B4-BE49-F238E27FC236}">
                <a16:creationId xmlns:a16="http://schemas.microsoft.com/office/drawing/2014/main" id="{642DCFFC-91CD-3FDB-7163-F6424308237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Footer Placeholder 4" hidden="1">
            <a:extLst>
              <a:ext uri="{FF2B5EF4-FFF2-40B4-BE49-F238E27FC236}">
                <a16:creationId xmlns:a16="http://schemas.microsoft.com/office/drawing/2014/main" id="{96684AF2-6144-5C9C-7263-B12DEB799CB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511C6D6-F560-5D72-5F0B-764185440A4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3C0E18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767600"/>
            <a:ext cx="3792774" cy="50904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833716" y="781200"/>
            <a:ext cx="2211551" cy="30852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6B1658D0-97B7-57A7-BA99-5908D8948DEE}"/>
              </a:ext>
            </a:extLst>
          </p:cNvPr>
          <p:cNvSpPr>
            <a:spLocks noGrp="1"/>
          </p:cNvSpPr>
          <p:nvPr>
            <p:ph type="pic" sz="quarter" idx="93" hasCustomPrompt="1"/>
          </p:nvPr>
        </p:nvSpPr>
        <p:spPr>
          <a:xfrm>
            <a:off x="8614484" y="0"/>
            <a:ext cx="3583866" cy="34308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6CDD5FA-DEDB-54C0-29EB-2849429B08AA}"/>
              </a:ext>
            </a:extLst>
          </p:cNvPr>
          <p:cNvSpPr>
            <a:spLocks noGrp="1"/>
          </p:cNvSpPr>
          <p:nvPr>
            <p:ph type="pic" sz="quarter" idx="94" hasCustomPrompt="1"/>
          </p:nvPr>
        </p:nvSpPr>
        <p:spPr>
          <a:xfrm>
            <a:off x="6757117" y="4838400"/>
            <a:ext cx="2020652" cy="2019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842199"/>
          </a:xfrm>
        </p:spPr>
        <p:txBody>
          <a:bodyPr/>
          <a:lstStyle>
            <a:lvl1pPr>
              <a:defRPr>
                <a:solidFill>
                  <a:srgbClr val="C5DBF3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6544607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rgbClr val="C5DBF3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33716" y="3981600"/>
            <a:ext cx="1619429" cy="723964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C5DBF3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5B5F57F6-8F8F-845B-2223-019B5A26AAE7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975873" y="5810400"/>
            <a:ext cx="1875576" cy="939721"/>
          </a:xfrm>
        </p:spPr>
        <p:txBody>
          <a:bodyPr anchor="b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C5DBF3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6B925E3-C070-A84E-0AE0-65C25A1026D6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9865099" y="3502800"/>
            <a:ext cx="2186775" cy="586315"/>
          </a:xfrm>
        </p:spPr>
        <p:txBody>
          <a:bodyPr anchor="t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C5DBF3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304A936-9963-1C8B-4DD8-6212031798C9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918840" y="6174770"/>
            <a:ext cx="1790132" cy="535631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C5DBF3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017215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1">
    <p:bg>
      <p:bgPr>
        <a:solidFill>
          <a:srgbClr val="3C0E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FADCBA6-0C97-4AE4-B298-34EF30EBB3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3C0E18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7" y="1346400"/>
            <a:ext cx="5478452" cy="41652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7149722" y="0"/>
            <a:ext cx="5060634" cy="68580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842199"/>
          </a:xfrm>
        </p:spPr>
        <p:txBody>
          <a:bodyPr/>
          <a:lstStyle>
            <a:lvl1pPr>
              <a:defRPr>
                <a:solidFill>
                  <a:srgbClr val="ECE8DD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6544607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rgbClr val="ECE8DD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1304" y="4608000"/>
            <a:ext cx="3342540" cy="1425600"/>
          </a:xfrm>
        </p:spPr>
        <p:txBody>
          <a:bodyPr anchor="b"/>
          <a:lstStyle>
            <a:lvl1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1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52925D-2F91-4818-B34D-7539CBDBE16E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5F525A-4A0F-438E-AC47-DE74FE2F179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07484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9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6250959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2">
    <p:bg>
      <p:bgPr>
        <a:solidFill>
          <a:srgbClr val="C5DB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15EDFE49-28D9-6D98-FEC1-D0F55FD669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Footer Placeholder 4" hidden="1">
            <a:extLst>
              <a:ext uri="{FF2B5EF4-FFF2-40B4-BE49-F238E27FC236}">
                <a16:creationId xmlns:a16="http://schemas.microsoft.com/office/drawing/2014/main" id="{D8B43074-9935-3EAD-8A39-01E2C5A0E8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1" name="Slide Number Placeholder 5" hidden="1">
            <a:extLst>
              <a:ext uri="{FF2B5EF4-FFF2-40B4-BE49-F238E27FC236}">
                <a16:creationId xmlns:a16="http://schemas.microsoft.com/office/drawing/2014/main" id="{414B2DA6-5FA7-95F4-3BF6-2C4E3A063FF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C5DBF3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8" y="1386000"/>
            <a:ext cx="3771163" cy="511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899992" y="3621600"/>
            <a:ext cx="5298358" cy="32364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9F85B9CF-30F3-3324-FA00-76649216A56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719778" y="0"/>
            <a:ext cx="1602834" cy="1915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5919695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5919695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05955" y="5065160"/>
            <a:ext cx="1972702" cy="1432840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1EDC82-13FB-48BE-8E41-96BCE91BF0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865099" y="2065106"/>
            <a:ext cx="2139951" cy="1293694"/>
          </a:xfrm>
        </p:spPr>
        <p:txBody>
          <a:bodyPr anchor="b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4545989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3">
    <p:bg>
      <p:bgPr>
        <a:solidFill>
          <a:srgbClr val="E5F5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15EDFE49-28D9-6D98-FEC1-D0F55FD669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Footer Placeholder 4" hidden="1">
            <a:extLst>
              <a:ext uri="{FF2B5EF4-FFF2-40B4-BE49-F238E27FC236}">
                <a16:creationId xmlns:a16="http://schemas.microsoft.com/office/drawing/2014/main" id="{D8B43074-9935-3EAD-8A39-01E2C5A0E8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1" name="Slide Number Placeholder 5" hidden="1">
            <a:extLst>
              <a:ext uri="{FF2B5EF4-FFF2-40B4-BE49-F238E27FC236}">
                <a16:creationId xmlns:a16="http://schemas.microsoft.com/office/drawing/2014/main" id="{414B2DA6-5FA7-95F4-3BF6-2C4E3A063FF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ltGray">
          <a:xfrm>
            <a:off x="0" y="0"/>
            <a:ext cx="12198350" cy="6858000"/>
          </a:xfrm>
          <a:solidFill>
            <a:srgbClr val="E5F5E4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616400"/>
            <a:ext cx="3940451" cy="52524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136636" y="0"/>
            <a:ext cx="4062915" cy="5097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9F85B9CF-30F3-3324-FA00-76649216A56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740068" y="2044800"/>
            <a:ext cx="2150319" cy="2221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6544607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69735" y="4032299"/>
            <a:ext cx="1916198" cy="852092"/>
          </a:xfrm>
        </p:spPr>
        <p:txBody>
          <a:bodyPr anchor="t" anchorCtr="0"/>
          <a:lstStyle>
            <a:lvl1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1EDC82-13FB-48BE-8E41-96BCE91BF0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746674" y="5178176"/>
            <a:ext cx="2258376" cy="869825"/>
          </a:xfrm>
        </p:spPr>
        <p:txBody>
          <a:bodyPr anchor="t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9628222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4">
    <p:bg>
      <p:bgPr>
        <a:solidFill>
          <a:srgbClr val="2228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 hidden="1">
            <a:extLst>
              <a:ext uri="{FF2B5EF4-FFF2-40B4-BE49-F238E27FC236}">
                <a16:creationId xmlns:a16="http://schemas.microsoft.com/office/drawing/2014/main" id="{2DB75723-9354-DD92-509D-F941AE3A81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Footer Placeholder 4" hidden="1">
            <a:extLst>
              <a:ext uri="{FF2B5EF4-FFF2-40B4-BE49-F238E27FC236}">
                <a16:creationId xmlns:a16="http://schemas.microsoft.com/office/drawing/2014/main" id="{3B36EBCA-F119-38B8-DE50-984C094D956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51AE55D7-0342-2126-55CA-F9BBE902AE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22283E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8" y="1414800"/>
            <a:ext cx="3825191" cy="5079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7801661" y="0"/>
            <a:ext cx="4405093" cy="5799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6" y="360000"/>
            <a:ext cx="4932118" cy="842199"/>
          </a:xfrm>
        </p:spPr>
        <p:txBody>
          <a:bodyPr/>
          <a:lstStyle>
            <a:lvl1pPr>
              <a:defRPr>
                <a:solidFill>
                  <a:srgbClr val="E5F5E4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4932118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rgbClr val="E5F5E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33056" y="5383794"/>
            <a:ext cx="2153921" cy="1141006"/>
          </a:xfrm>
        </p:spPr>
        <p:txBody>
          <a:bodyPr anchor="b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E5F5E4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400" b="0">
                <a:solidFill>
                  <a:srgbClr val="B7C5C5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7049037-323A-735D-20AA-22A4AC9972A0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5680157" y="1079771"/>
            <a:ext cx="3184058" cy="1364630"/>
          </a:xfrm>
        </p:spPr>
        <p:txBody>
          <a:bodyPr anchor="b"/>
          <a:lstStyle>
            <a:lvl1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1">
                <a:solidFill>
                  <a:srgbClr val="E5F5E4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3pPr>
            <a:lvl4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4pPr>
            <a:lvl5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5pPr>
            <a:lvl6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6pPr>
            <a:lvl7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7pPr>
            <a:lvl8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8pPr>
            <a:lvl9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234131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5">
    <p:bg>
      <p:bgPr>
        <a:solidFill>
          <a:srgbClr val="143E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15EDFE49-28D9-6D98-FEC1-D0F55FD669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Footer Placeholder 4" hidden="1">
            <a:extLst>
              <a:ext uri="{FF2B5EF4-FFF2-40B4-BE49-F238E27FC236}">
                <a16:creationId xmlns:a16="http://schemas.microsoft.com/office/drawing/2014/main" id="{D8B43074-9935-3EAD-8A39-01E2C5A0E8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1" name="Slide Number Placeholder 5" hidden="1">
            <a:extLst>
              <a:ext uri="{FF2B5EF4-FFF2-40B4-BE49-F238E27FC236}">
                <a16:creationId xmlns:a16="http://schemas.microsoft.com/office/drawing/2014/main" id="{414B2DA6-5FA7-95F4-3BF6-2C4E3A063FF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143E3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2667600"/>
            <a:ext cx="5726981" cy="42012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9723862" y="4410000"/>
            <a:ext cx="2474488" cy="24480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9F85B9CF-30F3-3324-FA00-76649216A56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566218" y="226800"/>
            <a:ext cx="3364151" cy="3495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6544607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66218" y="3819600"/>
            <a:ext cx="1901790" cy="817200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1EDC82-13FB-48BE-8E41-96BCE91BF0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64790" y="5713200"/>
            <a:ext cx="1901790" cy="975276"/>
          </a:xfrm>
        </p:spPr>
        <p:txBody>
          <a:bodyPr anchor="b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160823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quote ">
    <p:bg>
      <p:bgPr>
        <a:solidFill>
          <a:srgbClr val="FCF1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15EDFE49-28D9-6D98-FEC1-D0F55FD669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Footer Placeholder 4" hidden="1">
            <a:extLst>
              <a:ext uri="{FF2B5EF4-FFF2-40B4-BE49-F238E27FC236}">
                <a16:creationId xmlns:a16="http://schemas.microsoft.com/office/drawing/2014/main" id="{D8B43074-9935-3EAD-8A39-01E2C5A0E8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1" name="Slide Number Placeholder 5" hidden="1">
            <a:extLst>
              <a:ext uri="{FF2B5EF4-FFF2-40B4-BE49-F238E27FC236}">
                <a16:creationId xmlns:a16="http://schemas.microsoft.com/office/drawing/2014/main" id="{414B2DA6-5FA7-95F4-3BF6-2C4E3A063FF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FCF1C3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7" y="1810800"/>
            <a:ext cx="3699126" cy="468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9858332" y="4694400"/>
            <a:ext cx="1624446" cy="21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9F85B9CF-30F3-3324-FA00-76649216A56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812105" y="0"/>
            <a:ext cx="4595993" cy="3459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8518434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8518434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46227" y="4119327"/>
            <a:ext cx="3832395" cy="1956922"/>
          </a:xfrm>
        </p:spPr>
        <p:txBody>
          <a:bodyPr anchor="b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  <a:buFont typeface="Arial" panose="020B0604020202020204" pitchFamily="34" charset="0"/>
              <a:buChar char="​"/>
              <a:defRPr sz="1800" b="0" i="0">
                <a:solidFill>
                  <a:schemeClr val="tx1"/>
                </a:solidFill>
                <a:latin typeface="+mj-lt"/>
              </a:defRPr>
            </a:lvl1pPr>
            <a:lvl2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 baseline="0">
                <a:solidFill>
                  <a:schemeClr val="tx1"/>
                </a:solidFill>
                <a:latin typeface="+mn-lt"/>
              </a:defRPr>
            </a:lvl2pPr>
            <a:lvl3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3pPr>
            <a:lvl4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4pPr>
            <a:lvl5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5pPr>
            <a:lvl6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6pPr>
            <a:lvl7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7pPr>
            <a:lvl8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8pPr>
            <a:lvl9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“Click to add quote                                        </a:t>
            </a:r>
            <a:r>
              <a:rPr lang="en-GB" noProof="0" dirty="0"/>
              <a:t>Press ENTER then TAB to name text style”</a:t>
            </a:r>
            <a:endParaRPr lang="en-GB" dirty="0"/>
          </a:p>
          <a:p>
            <a:pPr lvl="1"/>
            <a:r>
              <a:rPr lang="en-GB" dirty="0"/>
              <a:t>Name</a:t>
            </a:r>
          </a:p>
          <a:p>
            <a:pPr lvl="2"/>
            <a:r>
              <a:rPr lang="en-GB" dirty="0"/>
              <a:t>3a</a:t>
            </a:r>
          </a:p>
          <a:p>
            <a:pPr lvl="3"/>
            <a:r>
              <a:rPr lang="en-GB" dirty="0"/>
              <a:t>4b</a:t>
            </a:r>
          </a:p>
          <a:p>
            <a:pPr lvl="4"/>
            <a:r>
              <a:rPr lang="en-GB" dirty="0"/>
              <a:t>5c</a:t>
            </a:r>
          </a:p>
          <a:p>
            <a:pPr lvl="5"/>
            <a:r>
              <a:rPr lang="en-GB" dirty="0"/>
              <a:t>6d</a:t>
            </a:r>
          </a:p>
          <a:p>
            <a:pPr lvl="6"/>
            <a:r>
              <a:rPr lang="en-GB" dirty="0"/>
              <a:t>7e</a:t>
            </a:r>
          </a:p>
          <a:p>
            <a:pPr lvl="7"/>
            <a:r>
              <a:rPr lang="en-GB" dirty="0"/>
              <a:t>8f</a:t>
            </a:r>
          </a:p>
          <a:p>
            <a:pPr lvl="8"/>
            <a:r>
              <a:rPr lang="en-GB" dirty="0"/>
              <a:t>9g</a:t>
            </a:r>
          </a:p>
        </p:txBody>
      </p:sp>
    </p:spTree>
    <p:extLst>
      <p:ext uri="{BB962C8B-B14F-4D97-AF65-F5344CB8AC3E}">
        <p14:creationId xmlns:p14="http://schemas.microsoft.com/office/powerpoint/2010/main" val="12293460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2" hidden="1">
            <a:extLst>
              <a:ext uri="{FF2B5EF4-FFF2-40B4-BE49-F238E27FC236}">
                <a16:creationId xmlns:a16="http://schemas.microsoft.com/office/drawing/2014/main" id="{3F645BB1-F7BC-BB17-3315-E31D3C13859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16F9C462-F3DF-A1A8-990C-815F03A08E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DF28C081-23D3-FFEB-A9A3-1C52685D818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 Placeholder background">
            <a:extLst>
              <a:ext uri="{FF2B5EF4-FFF2-40B4-BE49-F238E27FC236}">
                <a16:creationId xmlns:a16="http://schemas.microsoft.com/office/drawing/2014/main" id="{5A187E53-6373-462D-A58E-8E70EF3E65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1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2D2AFF5-A966-C48A-D023-1A8FBE7405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8" y="360000"/>
            <a:ext cx="2598866" cy="1624443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10878EB-43AE-13AC-6260-6F34E72C6F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89358"/>
            <a:ext cx="2600554" cy="208280"/>
          </a:xfrm>
        </p:spPr>
        <p:txBody>
          <a:bodyPr bIns="25200"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ED2E7D5-ADA6-A019-14FA-E01BE8D0C778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3317327" y="358775"/>
            <a:ext cx="4181777" cy="2988000"/>
          </a:xfrm>
          <a:solidFill>
            <a:srgbClr val="C5DBF3"/>
          </a:solidFill>
        </p:spPr>
        <p:txBody>
          <a:bodyPr vert="horz" lIns="828000" tIns="0" rIns="0" bIns="360000" rtlCol="0" anchor="b" anchorCtr="0">
            <a:noAutofit/>
          </a:bodyPr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400" dirty="0" smtClean="0"/>
            </a:lvl3pPr>
            <a:lvl4pPr>
              <a:defRPr lang="en-GB" sz="1400" dirty="0" smtClean="0"/>
            </a:lvl4pPr>
            <a:lvl5pPr>
              <a:defRPr lang="en-GB" sz="1400" dirty="0" smtClean="0"/>
            </a:lvl5pPr>
            <a:lvl6pPr>
              <a:defRPr lang="en-GB" dirty="0" smtClean="0"/>
            </a:lvl6pPr>
            <a:lvl7pPr>
              <a:defRPr lang="en-GB" dirty="0" smtClean="0"/>
            </a:lvl7pPr>
            <a:lvl8pPr>
              <a:defRPr lang="en-GB" dirty="0" smtClean="0"/>
            </a:lvl8pPr>
            <a:lvl9pPr>
              <a:defRPr lang="en-GB" dirty="0"/>
            </a:lvl9pPr>
          </a:lstStyle>
          <a:p>
            <a:pPr lvl="0"/>
            <a:r>
              <a:rPr lang="en-GB" noProof="0" dirty="0"/>
              <a:t>Click to add text                               Press ENTER then TAB to view next text style  Press SHIFT+TAB to view previous text style</a:t>
            </a:r>
            <a:endParaRPr lang="en-GB" dirty="0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8CCD0EAC-B194-C809-4A16-F1930E1F846B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7656023" y="358775"/>
            <a:ext cx="4181777" cy="2988000"/>
          </a:xfrm>
          <a:solidFill>
            <a:srgbClr val="3C0E18"/>
          </a:solidFill>
        </p:spPr>
        <p:txBody>
          <a:bodyPr lIns="828000" bIns="360000" anchor="b" anchorCtr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marL="270000" marR="0" lvl="0" indent="-27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Euclid Flex" panose="020B0500030000000000" pitchFamily="34" charset="0"/>
              <a:buChar char="—"/>
              <a:tabLst/>
              <a:defRPr/>
            </a:pPr>
            <a:r>
              <a:rPr lang="en-GB" noProof="0" dirty="0"/>
              <a:t>Click to add text                                    Press ENTER then TAB to view next text style  Press SHIFT+TAB to view previous text style</a:t>
            </a:r>
            <a:endParaRPr lang="en-GB" dirty="0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0E96DE1B-7A09-5BD1-66D1-241366F4A0F0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3317327" y="3510130"/>
            <a:ext cx="4181777" cy="2988000"/>
          </a:xfrm>
          <a:solidFill>
            <a:srgbClr val="5B4A14"/>
          </a:solidFill>
        </p:spPr>
        <p:txBody>
          <a:bodyPr vert="horz" lIns="828000" tIns="0" rIns="0" bIns="360000" rtlCol="0" anchor="b" anchorCtr="0">
            <a:noAutofit/>
          </a:bodyPr>
          <a:lstStyle>
            <a:lvl1pPr>
              <a:defRPr lang="en-GB" sz="1400" dirty="0" smtClean="0">
                <a:solidFill>
                  <a:schemeClr val="bg1"/>
                </a:solidFill>
              </a:defRPr>
            </a:lvl1pPr>
            <a:lvl2pPr>
              <a:defRPr lang="en-GB" sz="1400" dirty="0" smtClean="0">
                <a:solidFill>
                  <a:schemeClr val="bg1"/>
                </a:solidFill>
              </a:defRPr>
            </a:lvl2pPr>
            <a:lvl3pPr>
              <a:defRPr lang="en-GB" sz="1400" dirty="0" smtClean="0">
                <a:solidFill>
                  <a:schemeClr val="bg1"/>
                </a:solidFill>
              </a:defRPr>
            </a:lvl3pPr>
            <a:lvl4pPr>
              <a:defRPr lang="en-GB" sz="1400" dirty="0" smtClean="0">
                <a:solidFill>
                  <a:schemeClr val="bg1"/>
                </a:solidFill>
              </a:defRPr>
            </a:lvl4pPr>
            <a:lvl5pPr>
              <a:defRPr lang="en-GB" sz="1400" dirty="0" smtClean="0">
                <a:solidFill>
                  <a:schemeClr val="bg1"/>
                </a:solidFill>
              </a:defRPr>
            </a:lvl5pPr>
            <a:lvl6pPr>
              <a:defRPr lang="en-GB" dirty="0" smtClean="0">
                <a:solidFill>
                  <a:schemeClr val="bg1"/>
                </a:solidFill>
              </a:defRPr>
            </a:lvl6pPr>
            <a:lvl7pPr>
              <a:defRPr lang="en-GB" dirty="0" smtClean="0">
                <a:solidFill>
                  <a:schemeClr val="bg1"/>
                </a:solidFill>
              </a:defRPr>
            </a:lvl7pPr>
            <a:lvl8pPr>
              <a:defRPr lang="en-GB" dirty="0" smtClean="0">
                <a:solidFill>
                  <a:schemeClr val="bg1"/>
                </a:solidFill>
              </a:defRPr>
            </a:lvl8pPr>
            <a:lvl9pPr>
              <a:buNone/>
              <a:defRPr lang="en-GB" dirty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                             Press ENTER then TAB to view next text style  Press SHIFT+TAB to view previous text style</a:t>
            </a:r>
            <a:endParaRPr lang="en-GB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B365418F-BB7D-8819-A37C-A441BA66F9F5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7656023" y="3510130"/>
            <a:ext cx="4181777" cy="2988000"/>
          </a:xfrm>
          <a:solidFill>
            <a:srgbClr val="B7D692"/>
          </a:solidFill>
        </p:spPr>
        <p:txBody>
          <a:bodyPr lIns="828000" bIns="360000" anchor="b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270000" marR="0" lvl="0" indent="-27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Euclid Flex" panose="020B0500030000000000" pitchFamily="34" charset="0"/>
              <a:buChar char="—"/>
              <a:tabLst/>
              <a:defRPr/>
            </a:pPr>
            <a:r>
              <a:rPr lang="en-GB" noProof="0" dirty="0"/>
              <a:t>Click to add text                                     Press ENTER then TAB to view next text style  Press SHIFT+TAB to view previous text style</a:t>
            </a:r>
            <a:endParaRPr lang="en-GB" dirty="0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C9156F2C-0E12-AFC2-077B-760287DA1516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317327" y="358775"/>
            <a:ext cx="396206" cy="1908000"/>
          </a:xfrm>
        </p:spPr>
        <p:txBody>
          <a:bodyPr vert="vert270" lIns="108000" tIns="144000" anchor="t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CAE9EB38-A6BD-7113-157B-5AB1BDBD7941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 bwMode="white">
          <a:xfrm>
            <a:off x="7656024" y="358775"/>
            <a:ext cx="396206" cy="1908000"/>
          </a:xfrm>
        </p:spPr>
        <p:txBody>
          <a:bodyPr vert="vert270" lIns="108000" tIns="144000" anchor="t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B8105562-CE9A-74BD-BC20-6B979FF210B5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7656024" y="3510130"/>
            <a:ext cx="396206" cy="1908000"/>
          </a:xfrm>
        </p:spPr>
        <p:txBody>
          <a:bodyPr vert="vert270" lIns="108000" tIns="144000" anchor="t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2400F45B-E43C-B0D2-511C-5A75D036B6AF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 bwMode="white">
          <a:xfrm>
            <a:off x="3317327" y="3510130"/>
            <a:ext cx="396206" cy="1908000"/>
          </a:xfrm>
        </p:spPr>
        <p:txBody>
          <a:bodyPr vert="vert270" lIns="108000" tIns="144000" anchor="t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235509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16D49C6-FED7-4164-817B-4B7AB38B24B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2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97686D5C-73D9-6783-D6BC-04EC18E1DB3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76961" y="1814400"/>
            <a:ext cx="3047186" cy="32292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097015" y="1814400"/>
            <a:ext cx="3047186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6988" y="1814400"/>
            <a:ext cx="3047186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798CDB-56B0-9B18-E0EE-F43B6E0CC482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1076961" y="5049319"/>
            <a:ext cx="3047186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D6CC90EE-7DCB-BCFE-1C38-8D63368763D7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4586988" y="5049319"/>
            <a:ext cx="3047186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FA7D7413-9D1C-F067-8EBC-BD07815FD080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8097015" y="5049319"/>
            <a:ext cx="3047186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21250CC4-3C0A-75DE-4CC9-C1DEFCC94DC4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1076961" y="1483801"/>
            <a:ext cx="3047186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1040EFB5-AC3E-1D9F-F112-8838F8FBA3D8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4586988" y="1483801"/>
            <a:ext cx="3047186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2" name="Text Placeholder 24">
            <a:extLst>
              <a:ext uri="{FF2B5EF4-FFF2-40B4-BE49-F238E27FC236}">
                <a16:creationId xmlns:a16="http://schemas.microsoft.com/office/drawing/2014/main" id="{5E7BFAC7-9414-29D9-3A93-A64B5E75DAE7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8097015" y="1483801"/>
            <a:ext cx="3047186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E1AE02-906F-4994-92F4-2F45F17B36E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DC9A48-4427-437D-BAF7-AEFBFE298256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917565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P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16D49C6-FED7-4164-817B-4B7AB38B24B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2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0" name="Text Placeholder background">
            <a:extLst>
              <a:ext uri="{FF2B5EF4-FFF2-40B4-BE49-F238E27FC236}">
                <a16:creationId xmlns:a16="http://schemas.microsoft.com/office/drawing/2014/main" id="{73A4715C-4F45-6A81-7A8A-3622AA7DE23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1181" y="1814400"/>
            <a:ext cx="2452877" cy="32292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332096" y="1814400"/>
            <a:ext cx="2452877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29837" y="1814400"/>
            <a:ext cx="2452877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83444CE5-7D95-971A-AA51-A091CE742D27}"/>
              </a:ext>
            </a:extLst>
          </p:cNvPr>
          <p:cNvSpPr>
            <a:spLocks noGrp="1"/>
          </p:cNvSpPr>
          <p:nvPr>
            <p:ph type="pic" sz="quarter" idx="102" hasCustomPrompt="1"/>
          </p:nvPr>
        </p:nvSpPr>
        <p:spPr>
          <a:xfrm>
            <a:off x="9130753" y="1814400"/>
            <a:ext cx="2452877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8C798CDB-56B0-9B18-E0EE-F43B6E0CC482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731181" y="5048412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C90EE-7DCB-BCFE-1C38-8D63368763D7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529837" y="5048412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FA7D7413-9D1C-F067-8EBC-BD07815FD080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6332096" y="5048412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E4164D3-F978-704E-4D9E-F57ED66A4722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130753" y="5048412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21250CC4-3C0A-75DE-4CC9-C1DEFCC94DC4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731181" y="1483801"/>
            <a:ext cx="2452877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1040EFB5-AC3E-1D9F-F112-8838F8FBA3D8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3529837" y="1483801"/>
            <a:ext cx="2452877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5E7BFAC7-9414-29D9-3A93-A64B5E75DAE7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332096" y="1483801"/>
            <a:ext cx="2452877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53D45A4-2D15-24F9-B248-56805C2D2B6F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9130753" y="1483801"/>
            <a:ext cx="2452877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E1AE02-906F-4994-92F4-2F45F17B36E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DC9A48-4427-437D-BAF7-AEFBFE298256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042236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P 2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16D49C6-FED7-4164-817B-4B7AB38B24B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2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9" name="Text Placeholder background">
            <a:extLst>
              <a:ext uri="{FF2B5EF4-FFF2-40B4-BE49-F238E27FC236}">
                <a16:creationId xmlns:a16="http://schemas.microsoft.com/office/drawing/2014/main" id="{C7F14ED4-77D8-143A-D9E6-07A2C362B1C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7" y="1530000"/>
            <a:ext cx="2452877" cy="30168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93500" y="1530000"/>
            <a:ext cx="2809463" cy="3744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094523" y="1530000"/>
            <a:ext cx="2917519" cy="21924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83444CE5-7D95-971A-AA51-A091CE742D27}"/>
              </a:ext>
            </a:extLst>
          </p:cNvPr>
          <p:cNvSpPr>
            <a:spLocks noGrp="1"/>
          </p:cNvSpPr>
          <p:nvPr>
            <p:ph type="pic" sz="quarter" idx="102" hasCustomPrompt="1"/>
          </p:nvPr>
        </p:nvSpPr>
        <p:spPr>
          <a:xfrm>
            <a:off x="9384421" y="1530000"/>
            <a:ext cx="2452877" cy="30168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798CDB-56B0-9B18-E0EE-F43B6E0CC482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360187" y="4555672"/>
            <a:ext cx="2452877" cy="844773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</a:p>
          <a:p>
            <a:pPr lvl="8"/>
            <a:endParaRPr lang="en-GB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D6CC90EE-7DCB-BCFE-1C38-8D63368763D7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094523" y="3732265"/>
            <a:ext cx="2917519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</a:p>
          <a:p>
            <a:pPr lvl="8"/>
            <a:endParaRPr lang="en-GB" dirty="0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FA7D7413-9D1C-F067-8EBC-BD07815FD080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6293500" y="5280666"/>
            <a:ext cx="2809463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</a:p>
          <a:p>
            <a:pPr lvl="8"/>
            <a:endParaRPr lang="en-GB" dirty="0"/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3E4164D3-F978-704E-4D9E-F57ED66A4722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384421" y="4556766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</a:p>
          <a:p>
            <a:pPr lvl="8"/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E1AE02-906F-4994-92F4-2F45F17B36E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DC9A48-4427-437D-BAF7-AEFBFE298256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672085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3DE2716-4190-54F5-31BA-926F65FE4990}"/>
              </a:ext>
            </a:extLst>
          </p:cNvPr>
          <p:cNvSpPr>
            <a:spLocks/>
          </p:cNvSpPr>
          <p:nvPr userDrawn="1"/>
        </p:nvSpPr>
        <p:spPr>
          <a:xfrm>
            <a:off x="266948" y="1760403"/>
            <a:ext cx="11789814" cy="4830316"/>
          </a:xfrm>
          <a:prstGeom prst="rect">
            <a:avLst/>
          </a:prstGeom>
          <a:solidFill>
            <a:srgbClr val="C5DB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 anchorCtr="0"/>
          <a:lstStyle/>
          <a:p>
            <a:endParaRPr lang="en-GB" sz="1100" dirty="0">
              <a:solidFill>
                <a:schemeClr val="tx1"/>
              </a:solidFill>
              <a:latin typeface="Euclid Flex" panose="020B0500030000000000" pitchFamily="34" charset="0"/>
            </a:endParaRPr>
          </a:p>
        </p:txBody>
      </p:sp>
      <p:sp>
        <p:nvSpPr>
          <p:cNvPr id="23" name="Date Placeholder 2" hidden="1">
            <a:extLst>
              <a:ext uri="{FF2B5EF4-FFF2-40B4-BE49-F238E27FC236}">
                <a16:creationId xmlns:a16="http://schemas.microsoft.com/office/drawing/2014/main" id="{EAE83243-52AB-4697-728E-23AB45A741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4" name="Footer Placeholder 4" hidden="1">
            <a:extLst>
              <a:ext uri="{FF2B5EF4-FFF2-40B4-BE49-F238E27FC236}">
                <a16:creationId xmlns:a16="http://schemas.microsoft.com/office/drawing/2014/main" id="{9BE14E54-2536-AA10-A0E9-2955336F43C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6" name="Slide Number Placeholder 5" hidden="1">
            <a:extLst>
              <a:ext uri="{FF2B5EF4-FFF2-40B4-BE49-F238E27FC236}">
                <a16:creationId xmlns:a16="http://schemas.microsoft.com/office/drawing/2014/main" id="{CD6ECCDC-9E5B-8970-BCD8-30255E1597E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3FB1D63-07C0-38DB-A193-84DE99366D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prstGeom prst="rect">
            <a:avLst/>
          </a:prstGeom>
          <a:solidFill>
            <a:srgbClr val="ECE8DD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21250CC4-3C0A-75DE-4CC9-C1DEFCC94DC4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266948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32" name="Text Placeholder 24">
            <a:extLst>
              <a:ext uri="{FF2B5EF4-FFF2-40B4-BE49-F238E27FC236}">
                <a16:creationId xmlns:a16="http://schemas.microsoft.com/office/drawing/2014/main" id="{51D5E3B0-F8C1-96F1-D115-0461FAE7995C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2659218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39" name="Text Placeholder 24">
            <a:extLst>
              <a:ext uri="{FF2B5EF4-FFF2-40B4-BE49-F238E27FC236}">
                <a16:creationId xmlns:a16="http://schemas.microsoft.com/office/drawing/2014/main" id="{7694AC8F-CBB8-9CB4-D4CF-2362F5B6A5BE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5048986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46" name="Text Placeholder 24">
            <a:extLst>
              <a:ext uri="{FF2B5EF4-FFF2-40B4-BE49-F238E27FC236}">
                <a16:creationId xmlns:a16="http://schemas.microsoft.com/office/drawing/2014/main" id="{AE89405C-BD8C-CB4D-CF2D-D65543618B53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7441866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23841110-9092-4DE2-159F-5B789EC3D593}"/>
              </a:ext>
            </a:extLst>
          </p:cNvPr>
          <p:cNvSpPr>
            <a:spLocks noGrp="1"/>
          </p:cNvSpPr>
          <p:nvPr>
            <p:ph type="body" sz="quarter" idx="117" hasCustomPrompt="1"/>
          </p:nvPr>
        </p:nvSpPr>
        <p:spPr>
          <a:xfrm>
            <a:off x="9831535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B8BA6897-1120-DFB2-7627-2580A85609C1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266948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1360B2A8-8E5D-BDEB-EF7B-86B770E48EDD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2657777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43" name="Text Placeholder 17">
            <a:extLst>
              <a:ext uri="{FF2B5EF4-FFF2-40B4-BE49-F238E27FC236}">
                <a16:creationId xmlns:a16="http://schemas.microsoft.com/office/drawing/2014/main" id="{5BA938EF-AC36-8EFA-A9E7-96F213C21B65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048606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44" name="Text Placeholder 17">
            <a:extLst>
              <a:ext uri="{FF2B5EF4-FFF2-40B4-BE49-F238E27FC236}">
                <a16:creationId xmlns:a16="http://schemas.microsoft.com/office/drawing/2014/main" id="{0CFB0EFD-C3A0-212A-90C0-15F73F59AC25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7439435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988EE986-1BAA-81A1-8CAF-F3C82A363F9B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9830264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31" name="Arrow 1">
            <a:extLst>
              <a:ext uri="{FF2B5EF4-FFF2-40B4-BE49-F238E27FC236}">
                <a16:creationId xmlns:a16="http://schemas.microsoft.com/office/drawing/2014/main" id="{72572C1F-CA1A-3F5A-D1B1-89B6F5653BDA}"/>
              </a:ext>
            </a:extLst>
          </p:cNvPr>
          <p:cNvSpPr>
            <a:spLocks noGrp="1" noChangeAspect="1"/>
          </p:cNvSpPr>
          <p:nvPr>
            <p:ph type="body" sz="quarter" idx="110" hasCustomPrompt="1"/>
          </p:nvPr>
        </p:nvSpPr>
        <p:spPr>
          <a:xfrm>
            <a:off x="1901457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8" name="Arrow 2">
            <a:extLst>
              <a:ext uri="{FF2B5EF4-FFF2-40B4-BE49-F238E27FC236}">
                <a16:creationId xmlns:a16="http://schemas.microsoft.com/office/drawing/2014/main" id="{56C87872-F9B2-3C96-9D18-A85130093A72}"/>
              </a:ext>
            </a:extLst>
          </p:cNvPr>
          <p:cNvSpPr>
            <a:spLocks noGrp="1" noChangeAspect="1"/>
          </p:cNvSpPr>
          <p:nvPr>
            <p:ph type="body" sz="quarter" idx="112" hasCustomPrompt="1"/>
          </p:nvPr>
        </p:nvSpPr>
        <p:spPr>
          <a:xfrm>
            <a:off x="4292540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0" name="Arrow 3">
            <a:extLst>
              <a:ext uri="{FF2B5EF4-FFF2-40B4-BE49-F238E27FC236}">
                <a16:creationId xmlns:a16="http://schemas.microsoft.com/office/drawing/2014/main" id="{B7443FED-C0FE-3CD1-A295-C12230508D7F}"/>
              </a:ext>
            </a:extLst>
          </p:cNvPr>
          <p:cNvSpPr>
            <a:spLocks noGrp="1" noChangeAspect="1"/>
          </p:cNvSpPr>
          <p:nvPr>
            <p:ph type="body" sz="quarter" idx="114" hasCustomPrompt="1"/>
          </p:nvPr>
        </p:nvSpPr>
        <p:spPr>
          <a:xfrm>
            <a:off x="6683624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7" name="Arrow 4">
            <a:extLst>
              <a:ext uri="{FF2B5EF4-FFF2-40B4-BE49-F238E27FC236}">
                <a16:creationId xmlns:a16="http://schemas.microsoft.com/office/drawing/2014/main" id="{C5E0896A-E69D-E7A5-506C-555E57DDB71C}"/>
              </a:ext>
            </a:extLst>
          </p:cNvPr>
          <p:cNvSpPr>
            <a:spLocks noGrp="1" noChangeAspect="1"/>
          </p:cNvSpPr>
          <p:nvPr>
            <p:ph type="body" sz="quarter" idx="116" hasCustomPrompt="1"/>
          </p:nvPr>
        </p:nvSpPr>
        <p:spPr>
          <a:xfrm>
            <a:off x="9074708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9" name="Arrow 5">
            <a:extLst>
              <a:ext uri="{FF2B5EF4-FFF2-40B4-BE49-F238E27FC236}">
                <a16:creationId xmlns:a16="http://schemas.microsoft.com/office/drawing/2014/main" id="{9DA9D448-D148-4785-47AB-5CA19231C82B}"/>
              </a:ext>
            </a:extLst>
          </p:cNvPr>
          <p:cNvSpPr>
            <a:spLocks noGrp="1" noChangeAspect="1"/>
          </p:cNvSpPr>
          <p:nvPr>
            <p:ph type="body" sz="quarter" idx="118" hasCustomPrompt="1"/>
          </p:nvPr>
        </p:nvSpPr>
        <p:spPr>
          <a:xfrm>
            <a:off x="11465792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367247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3026576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background">
            <a:extLst>
              <a:ext uri="{FF2B5EF4-FFF2-40B4-BE49-F238E27FC236}">
                <a16:creationId xmlns:a16="http://schemas.microsoft.com/office/drawing/2014/main" id="{3E7A4E14-9343-70D5-7333-816CDBB4BC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4588A9F5-D4E3-863A-AD79-4169B0AA3C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962" y="1008000"/>
            <a:ext cx="3583866" cy="3600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32794DB5-03B7-15EE-23F5-32CD609562A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251458" y="1008000"/>
            <a:ext cx="3583866" cy="360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494EA6BC-8AA0-4E12-4312-96E31C14E8D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04466" y="1008000"/>
            <a:ext cx="3583866" cy="360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5FF8577-4EB2-E635-DA3B-9A998A4C61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6180523F-83B5-7EA0-2A21-4562B7DD99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045606D-3662-25DD-A100-CD9986AA8471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358962" y="4662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80F5D15-6B93-6530-8161-E95A1587CD07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4304466" y="4662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D3936CC-DF30-030E-1F6A-5057D1827339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8251458" y="4662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07C2A6-D681-5520-E227-7A3E04566B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8620F9-5813-ACB3-3C4E-C4AEFB22D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A20AD0-D5C5-99B1-8659-C15A76975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C51B953D-45D0-39A9-54AF-68923D7640C8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8251359" y="5131837"/>
            <a:ext cx="3586904" cy="1366163"/>
          </a:xfrm>
        </p:spPr>
        <p:txBody>
          <a:bodyPr tIns="0" anchor="b" anchorCtr="0"/>
          <a:lstStyle>
            <a:lvl1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1pPr>
            <a:lvl2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2pPr>
            <a:lvl3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3pPr>
            <a:lvl4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>
                <a:latin typeface="+mn-lt"/>
              </a:defRPr>
            </a:lvl4pPr>
            <a:lvl5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5pPr>
            <a:lvl6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6pPr>
            <a:lvl7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>
                <a:latin typeface="+mn-lt"/>
              </a:defRPr>
            </a:lvl7pPr>
            <a:lvl8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8pPr>
            <a:lvl9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</p:spTree>
    <p:extLst>
      <p:ext uri="{BB962C8B-B14F-4D97-AF65-F5344CB8AC3E}">
        <p14:creationId xmlns:p14="http://schemas.microsoft.com/office/powerpoint/2010/main" val="26421056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background">
            <a:extLst>
              <a:ext uri="{FF2B5EF4-FFF2-40B4-BE49-F238E27FC236}">
                <a16:creationId xmlns:a16="http://schemas.microsoft.com/office/drawing/2014/main" id="{3E7A4E14-9343-70D5-7333-816CDBB4BC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4588A9F5-D4E3-863A-AD79-4169B0AA3C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962" y="1008000"/>
            <a:ext cx="2593350" cy="2592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32794DB5-03B7-15EE-23F5-32CD609562A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79269" y="1008000"/>
            <a:ext cx="2593350" cy="259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494EA6BC-8AA0-4E12-4312-96E31C14E8D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319728" y="1008000"/>
            <a:ext cx="2593350" cy="259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F33A5B6B-6CFA-D154-76D5-CE9D03183DA6}"/>
              </a:ext>
            </a:extLst>
          </p:cNvPr>
          <p:cNvSpPr>
            <a:spLocks noGrp="1"/>
          </p:cNvSpPr>
          <p:nvPr>
            <p:ph type="pic" sz="quarter" idx="102" hasCustomPrompt="1"/>
          </p:nvPr>
        </p:nvSpPr>
        <p:spPr>
          <a:xfrm>
            <a:off x="9238809" y="1008000"/>
            <a:ext cx="2593350" cy="259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5FF8577-4EB2-E635-DA3B-9A998A4C61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6180523F-83B5-7EA0-2A21-4562B7DD99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045606D-3662-25DD-A100-CD9986AA8471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358962" y="3654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80F5D15-6B93-6530-8161-E95A1587CD07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3319728" y="3654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D3936CC-DF30-030E-1F6A-5057D1827339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6279269" y="3654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4A9C0971-F8C4-868A-CDDD-2D34FF56CBC5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9238809" y="3654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C3227EB3-A57D-DD04-CDC7-1F4B9BBBF05B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9237709" y="4222800"/>
            <a:ext cx="2600554" cy="2275200"/>
          </a:xfrm>
        </p:spPr>
        <p:txBody>
          <a:bodyPr tIns="0" anchor="b" anchorCtr="0"/>
          <a:lstStyle>
            <a:lvl1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1pPr>
            <a:lvl2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2pPr>
            <a:lvl3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3pPr>
            <a:lvl4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>
                <a:latin typeface="+mn-lt"/>
              </a:defRPr>
            </a:lvl4pPr>
            <a:lvl5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5pPr>
            <a:lvl6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6pPr>
            <a:lvl7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>
                <a:latin typeface="+mn-lt"/>
              </a:defRPr>
            </a:lvl7pPr>
            <a:lvl8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8pPr>
            <a:lvl9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07C2A6-D681-5520-E227-7A3E04566B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8620F9-5813-ACB3-3C4E-C4AEFB22D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A20AD0-D5C5-99B1-8659-C15A76975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049410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6366353B-DFD2-4424-9B1E-869E4424723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43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DB3A8760-8DA6-8B9C-EA61-B9B74F7EB818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1B42F89-A6D2-825B-285E-0EA4A24A66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3926D94-98B2-AE2F-51B1-7F9EDAF8B2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1008000"/>
            <a:ext cx="1613640" cy="1620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07843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331664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278656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51359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0222021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58962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83C9C8D-63B3-4187-ABE3-0D600C0A68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331664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52BC476-88D1-4D99-8B6B-007FB91475C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07843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A45F02-1DA5-4CBD-B714-97ED3F587BB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278656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CE222E9-81E3-4B99-B180-AC199E54016D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251359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29556BCE-1AE4-4A63-A3CC-C512840E131E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0222021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8962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31664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07843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73266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52996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F876C36-A36F-4164-8A91-BCACB4709C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22021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29D200B-A02E-48B0-8249-61209D663E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8960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F9AABC57-906F-455D-9C3E-66ECC2387B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331664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E935B62-CA54-4FD0-A765-515DD6E001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07843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41">
            <a:extLst>
              <a:ext uri="{FF2B5EF4-FFF2-40B4-BE49-F238E27FC236}">
                <a16:creationId xmlns:a16="http://schemas.microsoft.com/office/drawing/2014/main" id="{E19EA140-A6FA-4F8C-B247-0A6BD41EA55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82334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43">
            <a:extLst>
              <a:ext uri="{FF2B5EF4-FFF2-40B4-BE49-F238E27FC236}">
                <a16:creationId xmlns:a16="http://schemas.microsoft.com/office/drawing/2014/main" id="{2C942555-08EC-4AE6-A2F8-17CE48BBF1A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51358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1" name="Text Placeholder 45">
            <a:extLst>
              <a:ext uri="{FF2B5EF4-FFF2-40B4-BE49-F238E27FC236}">
                <a16:creationId xmlns:a16="http://schemas.microsoft.com/office/drawing/2014/main" id="{408B6464-6BFE-4DC7-91EC-A2DC6E4D21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22021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5" name="Text Placeholder 87">
            <a:extLst>
              <a:ext uri="{FF2B5EF4-FFF2-40B4-BE49-F238E27FC236}">
                <a16:creationId xmlns:a16="http://schemas.microsoft.com/office/drawing/2014/main" id="{3B0E52E7-1FB9-E6CA-23DB-810248F51757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7890808" y="5387009"/>
            <a:ext cx="3946992" cy="1110629"/>
          </a:xfrm>
        </p:spPr>
        <p:txBody>
          <a:bodyPr anchor="b" anchorCtr="0"/>
          <a:lstStyle>
            <a:lvl1pPr marL="0" indent="0" algn="r">
              <a:buFont typeface="Arial" panose="020B0604020202020204" pitchFamily="34" charset="0"/>
              <a:buNone/>
              <a:defRPr sz="1200" b="0" cap="all">
                <a:latin typeface="+mn-lt"/>
              </a:defRPr>
            </a:lvl1pPr>
            <a:lvl2pPr marL="0" indent="0" algn="r">
              <a:buNone/>
              <a:defRPr sz="1200" b="0" cap="all">
                <a:latin typeface="+mn-lt"/>
              </a:defRPr>
            </a:lvl2pPr>
            <a:lvl3pPr marL="0" indent="0" algn="r">
              <a:buNone/>
              <a:defRPr sz="1200" b="0" cap="all">
                <a:latin typeface="+mn-lt"/>
              </a:defRPr>
            </a:lvl3pPr>
            <a:lvl4pPr marL="0" indent="0" algn="r">
              <a:buNone/>
              <a:defRPr sz="1200" b="0" cap="all">
                <a:latin typeface="+mn-lt"/>
              </a:defRPr>
            </a:lvl4pPr>
            <a:lvl5pPr marL="0" indent="0" algn="r">
              <a:buNone/>
              <a:defRPr sz="1200" b="0" cap="all">
                <a:latin typeface="+mn-lt"/>
              </a:defRPr>
            </a:lvl5pPr>
            <a:lvl6pPr marL="0" indent="0" algn="r">
              <a:buNone/>
              <a:defRPr sz="1200" b="0" cap="all">
                <a:latin typeface="+mn-lt"/>
              </a:defRPr>
            </a:lvl6pPr>
            <a:lvl7pPr marL="0" indent="0" algn="r">
              <a:buNone/>
              <a:defRPr sz="1200" b="0" cap="all">
                <a:latin typeface="+mn-lt"/>
              </a:defRPr>
            </a:lvl7pPr>
            <a:lvl8pPr marL="0" indent="0" algn="r">
              <a:buNone/>
              <a:defRPr sz="1200" b="0" cap="all">
                <a:latin typeface="+mn-lt"/>
              </a:defRPr>
            </a:lvl8pPr>
            <a:lvl9pPr marL="0" indent="0" algn="r">
              <a:buFont typeface="Arial" panose="020B0604020202020204" pitchFamily="34" charset="0"/>
              <a:buNone/>
              <a:defRPr sz="1200" b="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69D7FF2-C16F-4A1D-A5CB-EBB461E36650}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50544C94-0047-40A7-9AEA-67D4455C46A6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008088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42E70D2-2F18-459F-B7C2-8B02038BB3C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55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CE93D195-2F87-77B0-9824-ED26ED4BC3C6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1008000"/>
            <a:ext cx="1257054" cy="12636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558653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977430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75895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793136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410378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60188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83C9C8D-63B3-4187-ABE3-0D600C0A68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977430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52BC476-88D1-4D99-8B6B-007FB91475C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58653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A45F02-1DA5-4CBD-B714-97ED3F587BB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5175895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CE222E9-81E3-4B99-B180-AC199E54016D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793136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29556BCE-1AE4-4A63-A3CC-C512840E131E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8410378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7A987E97-C3C5-435B-BA8E-6D10D2CFB4EB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360188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5" name="Picture Placeholder 15">
            <a:extLst>
              <a:ext uri="{FF2B5EF4-FFF2-40B4-BE49-F238E27FC236}">
                <a16:creationId xmlns:a16="http://schemas.microsoft.com/office/drawing/2014/main" id="{CB041983-2439-476B-B5EC-04A98B0A7C3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1977430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F1C136C3-4C3D-4523-B473-CE2E029DB6CC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3558653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04F32540-EA97-4FE8-B8CA-13D0972D3157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5175895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1" name="Picture Placeholder 11">
            <a:extLst>
              <a:ext uri="{FF2B5EF4-FFF2-40B4-BE49-F238E27FC236}">
                <a16:creationId xmlns:a16="http://schemas.microsoft.com/office/drawing/2014/main" id="{F8F4116C-A311-470B-AB97-D6823AC725BF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6793136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2" name="Picture Placeholder 19">
            <a:extLst>
              <a:ext uri="{FF2B5EF4-FFF2-40B4-BE49-F238E27FC236}">
                <a16:creationId xmlns:a16="http://schemas.microsoft.com/office/drawing/2014/main" id="{8D5C64DC-1081-49DC-BFD2-4636B925322A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8410378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6D1B265-D262-5501-AAFF-E36277EF3C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7C23F85-C69D-7BCE-6A2F-4FDAF8383C7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0188" y="2329136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77430" y="2329136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58653" y="23292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75895" y="23292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93136" y="23292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F876C36-A36F-4164-8A91-BCACB4709C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410378" y="23292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29D200B-A02E-48B0-8249-61209D663E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0188" y="4012332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F9AABC57-906F-455D-9C3E-66ECC2387B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77430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E935B62-CA54-4FD0-A765-515DD6E001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558653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41">
            <a:extLst>
              <a:ext uri="{FF2B5EF4-FFF2-40B4-BE49-F238E27FC236}">
                <a16:creationId xmlns:a16="http://schemas.microsoft.com/office/drawing/2014/main" id="{E19EA140-A6FA-4F8C-B247-0A6BD41EA55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175895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43">
            <a:extLst>
              <a:ext uri="{FF2B5EF4-FFF2-40B4-BE49-F238E27FC236}">
                <a16:creationId xmlns:a16="http://schemas.microsoft.com/office/drawing/2014/main" id="{2C942555-08EC-4AE6-A2F8-17CE48BBF1A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793136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1" name="Text Placeholder 45">
            <a:extLst>
              <a:ext uri="{FF2B5EF4-FFF2-40B4-BE49-F238E27FC236}">
                <a16:creationId xmlns:a16="http://schemas.microsoft.com/office/drawing/2014/main" id="{408B6464-6BFE-4DC7-91EC-A2DC6E4D21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410378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3" name="Text Placeholder 47">
            <a:extLst>
              <a:ext uri="{FF2B5EF4-FFF2-40B4-BE49-F238E27FC236}">
                <a16:creationId xmlns:a16="http://schemas.microsoft.com/office/drawing/2014/main" id="{8737F831-E7BF-431C-A783-6DB77525B3A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60188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4" name="Text Placeholder 49">
            <a:extLst>
              <a:ext uri="{FF2B5EF4-FFF2-40B4-BE49-F238E27FC236}">
                <a16:creationId xmlns:a16="http://schemas.microsoft.com/office/drawing/2014/main" id="{9E3D94BF-34E4-4338-8F6F-361DE3B6FA1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977430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5" name="Text Placeholder 51">
            <a:extLst>
              <a:ext uri="{FF2B5EF4-FFF2-40B4-BE49-F238E27FC236}">
                <a16:creationId xmlns:a16="http://schemas.microsoft.com/office/drawing/2014/main" id="{62161C55-F439-471C-B3B0-A720649B187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558653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6" name="Text Placeholder 53">
            <a:extLst>
              <a:ext uri="{FF2B5EF4-FFF2-40B4-BE49-F238E27FC236}">
                <a16:creationId xmlns:a16="http://schemas.microsoft.com/office/drawing/2014/main" id="{7DFE047B-0788-4473-B4F5-CE949506BCE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175895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7" name="Text Placeholder 55">
            <a:extLst>
              <a:ext uri="{FF2B5EF4-FFF2-40B4-BE49-F238E27FC236}">
                <a16:creationId xmlns:a16="http://schemas.microsoft.com/office/drawing/2014/main" id="{140B104F-C6E0-4A2B-A858-D06AD92AB88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793136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8" name="Text Placeholder 57">
            <a:extLst>
              <a:ext uri="{FF2B5EF4-FFF2-40B4-BE49-F238E27FC236}">
                <a16:creationId xmlns:a16="http://schemas.microsoft.com/office/drawing/2014/main" id="{10309CCA-94D0-402A-A7B1-E67A33EF3C9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10378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1" name="Text Placeholder 87">
            <a:extLst>
              <a:ext uri="{FF2B5EF4-FFF2-40B4-BE49-F238E27FC236}">
                <a16:creationId xmlns:a16="http://schemas.microsoft.com/office/drawing/2014/main" id="{81AD4008-3F42-FDF3-C426-7EA848743D44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0224061" y="4780722"/>
            <a:ext cx="1613739" cy="1716916"/>
          </a:xfrm>
        </p:spPr>
        <p:txBody>
          <a:bodyPr anchor="b" anchorCtr="0"/>
          <a:lstStyle>
            <a:lvl1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1pPr>
            <a:lvl2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2pPr>
            <a:lvl3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3pPr>
            <a:lvl4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4pPr>
            <a:lvl5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5pPr>
            <a:lvl6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6pPr>
            <a:lvl7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7pPr>
            <a:lvl8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8pPr>
            <a:lvl9pPr marL="0" algn="r">
              <a:defRPr sz="1000" b="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99950FDF-8CAA-4A40-A3B2-20B8E6D24A1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3AEC48D-7D04-471B-B27A-0484DC18DDE1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031665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Date Placeholder 2" hidden="1">
            <a:extLst>
              <a:ext uri="{FF2B5EF4-FFF2-40B4-BE49-F238E27FC236}">
                <a16:creationId xmlns:a16="http://schemas.microsoft.com/office/drawing/2014/main" id="{3C128F33-14E0-B088-3C71-53BDBF6339F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81" name="Footer Placeholder 4" hidden="1">
            <a:extLst>
              <a:ext uri="{FF2B5EF4-FFF2-40B4-BE49-F238E27FC236}">
                <a16:creationId xmlns:a16="http://schemas.microsoft.com/office/drawing/2014/main" id="{7C09FFBB-2F3D-F6A5-8E8D-16F9B4A198C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82" name="Slide Number Placeholder 5" hidden="1">
            <a:extLst>
              <a:ext uri="{FF2B5EF4-FFF2-40B4-BE49-F238E27FC236}">
                <a16:creationId xmlns:a16="http://schemas.microsoft.com/office/drawing/2014/main" id="{67DDBD35-A4CE-1F86-5749-4F8E3A8B7FE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1635E464-5EF7-EE1D-6472-4E3B73A97905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FADE9EB5-5558-18A7-4E6A-9B0CE4952AC8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4678836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E52D76F3-FA3E-F6FB-9152-D71C0843357B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5759398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5" name="Picture Placeholder 19">
            <a:extLst>
              <a:ext uri="{FF2B5EF4-FFF2-40B4-BE49-F238E27FC236}">
                <a16:creationId xmlns:a16="http://schemas.microsoft.com/office/drawing/2014/main" id="{56A10970-076E-64B5-554C-598478C23DA7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6861572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1" name="Picture Placeholder 21">
            <a:extLst>
              <a:ext uri="{FF2B5EF4-FFF2-40B4-BE49-F238E27FC236}">
                <a16:creationId xmlns:a16="http://schemas.microsoft.com/office/drawing/2014/main" id="{F7C28511-B3D8-D717-F6DE-E3B91D87C755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60188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378F13C0-B92D-9F70-A9D2-78CA83F7DF9A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1437148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3" name="Picture Placeholder 11">
            <a:extLst>
              <a:ext uri="{FF2B5EF4-FFF2-40B4-BE49-F238E27FC236}">
                <a16:creationId xmlns:a16="http://schemas.microsoft.com/office/drawing/2014/main" id="{169B1178-A4ED-E16F-4569-C875AF4E487F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2514109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4" name="Picture Placeholder 19">
            <a:extLst>
              <a:ext uri="{FF2B5EF4-FFF2-40B4-BE49-F238E27FC236}">
                <a16:creationId xmlns:a16="http://schemas.microsoft.com/office/drawing/2014/main" id="{285FD946-A346-12FA-88C7-5C79858C5189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598273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9" name="Picture Placeholder 4">
            <a:extLst>
              <a:ext uri="{FF2B5EF4-FFF2-40B4-BE49-F238E27FC236}">
                <a16:creationId xmlns:a16="http://schemas.microsoft.com/office/drawing/2014/main" id="{1499496D-3091-2206-27D1-709A6BB78890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4678836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0" name="Picture Placeholder 11">
            <a:extLst>
              <a:ext uri="{FF2B5EF4-FFF2-40B4-BE49-F238E27FC236}">
                <a16:creationId xmlns:a16="http://schemas.microsoft.com/office/drawing/2014/main" id="{F7F1AAF3-136F-7ABD-39BE-32E98634D56F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5759398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1" name="Picture Placeholder 19">
            <a:extLst>
              <a:ext uri="{FF2B5EF4-FFF2-40B4-BE49-F238E27FC236}">
                <a16:creationId xmlns:a16="http://schemas.microsoft.com/office/drawing/2014/main" id="{FC639898-3289-5BAD-5A90-90A8555658F0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6861572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5" name="Picture Placeholder 21">
            <a:extLst>
              <a:ext uri="{FF2B5EF4-FFF2-40B4-BE49-F238E27FC236}">
                <a16:creationId xmlns:a16="http://schemas.microsoft.com/office/drawing/2014/main" id="{764B6CFC-C8DF-82AD-261F-52EBA3EA416B}"/>
              </a:ext>
            </a:extLst>
          </p:cNvPr>
          <p:cNvSpPr>
            <a:spLocks noGrp="1"/>
          </p:cNvSpPr>
          <p:nvPr>
            <p:ph type="pic" sz="quarter" idx="78" hasCustomPrompt="1"/>
          </p:nvPr>
        </p:nvSpPr>
        <p:spPr>
          <a:xfrm>
            <a:off x="360188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6" name="Picture Placeholder 4">
            <a:extLst>
              <a:ext uri="{FF2B5EF4-FFF2-40B4-BE49-F238E27FC236}">
                <a16:creationId xmlns:a16="http://schemas.microsoft.com/office/drawing/2014/main" id="{0F246C70-7EC1-32E8-DB88-C5DCDF6CDFEA}"/>
              </a:ext>
            </a:extLst>
          </p:cNvPr>
          <p:cNvSpPr>
            <a:spLocks noGrp="1"/>
          </p:cNvSpPr>
          <p:nvPr>
            <p:ph type="pic" sz="quarter" idx="79" hasCustomPrompt="1"/>
          </p:nvPr>
        </p:nvSpPr>
        <p:spPr>
          <a:xfrm>
            <a:off x="1437148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7" name="Picture Placeholder 11">
            <a:extLst>
              <a:ext uri="{FF2B5EF4-FFF2-40B4-BE49-F238E27FC236}">
                <a16:creationId xmlns:a16="http://schemas.microsoft.com/office/drawing/2014/main" id="{F74AECBD-8D02-EAE7-8090-B81DA79FC00A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2514109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8" name="Picture Placeholder 19">
            <a:extLst>
              <a:ext uri="{FF2B5EF4-FFF2-40B4-BE49-F238E27FC236}">
                <a16:creationId xmlns:a16="http://schemas.microsoft.com/office/drawing/2014/main" id="{410D4379-4883-90D1-4BB3-C46D1A2CF112}"/>
              </a:ext>
            </a:extLst>
          </p:cNvPr>
          <p:cNvSpPr>
            <a:spLocks noGrp="1"/>
          </p:cNvSpPr>
          <p:nvPr>
            <p:ph type="pic" sz="quarter" idx="81" hasCustomPrompt="1"/>
          </p:nvPr>
        </p:nvSpPr>
        <p:spPr>
          <a:xfrm>
            <a:off x="3598273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3" name="Picture Placeholder 4">
            <a:extLst>
              <a:ext uri="{FF2B5EF4-FFF2-40B4-BE49-F238E27FC236}">
                <a16:creationId xmlns:a16="http://schemas.microsoft.com/office/drawing/2014/main" id="{C01CB954-FEDB-D8F6-2E76-F6FF98D2334F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4678836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4" name="Picture Placeholder 11">
            <a:extLst>
              <a:ext uri="{FF2B5EF4-FFF2-40B4-BE49-F238E27FC236}">
                <a16:creationId xmlns:a16="http://schemas.microsoft.com/office/drawing/2014/main" id="{379AE0BF-C404-12C8-EDB2-38C16C679D08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5759398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5" name="Picture Placeholder 19">
            <a:extLst>
              <a:ext uri="{FF2B5EF4-FFF2-40B4-BE49-F238E27FC236}">
                <a16:creationId xmlns:a16="http://schemas.microsoft.com/office/drawing/2014/main" id="{D91254CA-1369-B5A0-A807-4A38A1044767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6861572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527316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443752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610880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694444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778008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861572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83C9C8D-63B3-4187-ABE3-0D600C0A68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360188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52BC476-88D1-4D99-8B6B-007FB91475C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437148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A45F02-1DA5-4CBD-B714-97ED3F587BB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514109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CE222E9-81E3-4B99-B180-AC199E54016D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598273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29556BCE-1AE4-4A63-A3CC-C512840E131E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4678836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7A987E97-C3C5-435B-BA8E-6D10D2CFB4EB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759398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5" name="Picture Placeholder 15">
            <a:extLst>
              <a:ext uri="{FF2B5EF4-FFF2-40B4-BE49-F238E27FC236}">
                <a16:creationId xmlns:a16="http://schemas.microsoft.com/office/drawing/2014/main" id="{CB041983-2439-476B-B5EC-04A98B0A7C3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861572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F1C136C3-4C3D-4523-B473-CE2E029DB6CC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360188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04F32540-EA97-4FE8-B8CA-13D0972D3157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1437148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1" name="Picture Placeholder 11">
            <a:extLst>
              <a:ext uri="{FF2B5EF4-FFF2-40B4-BE49-F238E27FC236}">
                <a16:creationId xmlns:a16="http://schemas.microsoft.com/office/drawing/2014/main" id="{F8F4116C-A311-470B-AB97-D6823AC725BF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2514109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910800"/>
            <a:ext cx="914876" cy="831600"/>
          </a:xfrm>
          <a:solidFill>
            <a:schemeClr val="bg1"/>
          </a:solidFill>
        </p:spPr>
        <p:txBody>
          <a:bodyPr lIns="0" tIns="57600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42" name="Picture Placeholder 19">
            <a:extLst>
              <a:ext uri="{FF2B5EF4-FFF2-40B4-BE49-F238E27FC236}">
                <a16:creationId xmlns:a16="http://schemas.microsoft.com/office/drawing/2014/main" id="{8D5C64DC-1081-49DC-BFD2-4636B925322A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598273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6D1B265-D262-5501-AAFF-E36277EF3C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7C23F85-C69D-7BCE-6A2F-4FDAF8383C7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0188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43752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27316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10880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694444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F876C36-A36F-4164-8A91-BCACB4709C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778008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29D200B-A02E-48B0-8249-61209D663E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861572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F9AABC57-906F-455D-9C3E-66ECC2387B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0188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E935B62-CA54-4FD0-A765-515DD6E001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37148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41">
            <a:extLst>
              <a:ext uri="{FF2B5EF4-FFF2-40B4-BE49-F238E27FC236}">
                <a16:creationId xmlns:a16="http://schemas.microsoft.com/office/drawing/2014/main" id="{E19EA140-A6FA-4F8C-B247-0A6BD41EA55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514109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43">
            <a:extLst>
              <a:ext uri="{FF2B5EF4-FFF2-40B4-BE49-F238E27FC236}">
                <a16:creationId xmlns:a16="http://schemas.microsoft.com/office/drawing/2014/main" id="{2C942555-08EC-4AE6-A2F8-17CE48BBF1A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598273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1" name="Text Placeholder 45">
            <a:extLst>
              <a:ext uri="{FF2B5EF4-FFF2-40B4-BE49-F238E27FC236}">
                <a16:creationId xmlns:a16="http://schemas.microsoft.com/office/drawing/2014/main" id="{408B6464-6BFE-4DC7-91EC-A2DC6E4D21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78836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3" name="Text Placeholder 47">
            <a:extLst>
              <a:ext uri="{FF2B5EF4-FFF2-40B4-BE49-F238E27FC236}">
                <a16:creationId xmlns:a16="http://schemas.microsoft.com/office/drawing/2014/main" id="{8737F831-E7BF-431C-A783-6DB77525B3A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759398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4" name="Text Placeholder 49">
            <a:extLst>
              <a:ext uri="{FF2B5EF4-FFF2-40B4-BE49-F238E27FC236}">
                <a16:creationId xmlns:a16="http://schemas.microsoft.com/office/drawing/2014/main" id="{9E3D94BF-34E4-4338-8F6F-361DE3B6FA1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861572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5" name="Text Placeholder 51">
            <a:extLst>
              <a:ext uri="{FF2B5EF4-FFF2-40B4-BE49-F238E27FC236}">
                <a16:creationId xmlns:a16="http://schemas.microsoft.com/office/drawing/2014/main" id="{62161C55-F439-471C-B3B0-A720649B187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60188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6" name="Text Placeholder 53">
            <a:extLst>
              <a:ext uri="{FF2B5EF4-FFF2-40B4-BE49-F238E27FC236}">
                <a16:creationId xmlns:a16="http://schemas.microsoft.com/office/drawing/2014/main" id="{7DFE047B-0788-4473-B4F5-CE949506BCE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437148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7" name="Text Placeholder 55">
            <a:extLst>
              <a:ext uri="{FF2B5EF4-FFF2-40B4-BE49-F238E27FC236}">
                <a16:creationId xmlns:a16="http://schemas.microsoft.com/office/drawing/2014/main" id="{140B104F-C6E0-4A2B-A858-D06AD92AB88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514109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8" name="Text Placeholder 57">
            <a:extLst>
              <a:ext uri="{FF2B5EF4-FFF2-40B4-BE49-F238E27FC236}">
                <a16:creationId xmlns:a16="http://schemas.microsoft.com/office/drawing/2014/main" id="{10309CCA-94D0-402A-A7B1-E67A33EF3C9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598273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9" name="Text Placeholder 53">
            <a:extLst>
              <a:ext uri="{FF2B5EF4-FFF2-40B4-BE49-F238E27FC236}">
                <a16:creationId xmlns:a16="http://schemas.microsoft.com/office/drawing/2014/main" id="{083A4388-0528-E01B-4DB8-7B30A4AC62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678836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9" name="Text Placeholder 55">
            <a:extLst>
              <a:ext uri="{FF2B5EF4-FFF2-40B4-BE49-F238E27FC236}">
                <a16:creationId xmlns:a16="http://schemas.microsoft.com/office/drawing/2014/main" id="{4AC6EBA8-3617-9D1C-DFDC-52B62F857EB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759398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0" name="Text Placeholder 57">
            <a:extLst>
              <a:ext uri="{FF2B5EF4-FFF2-40B4-BE49-F238E27FC236}">
                <a16:creationId xmlns:a16="http://schemas.microsoft.com/office/drawing/2014/main" id="{FF6E8665-0472-04B2-48C4-3AFCA867ABE0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861572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5" name="Text Placeholder 51">
            <a:extLst>
              <a:ext uri="{FF2B5EF4-FFF2-40B4-BE49-F238E27FC236}">
                <a16:creationId xmlns:a16="http://schemas.microsoft.com/office/drawing/2014/main" id="{E23DD107-8FE9-8B68-AF70-8A0DD8CEC1B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60188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6" name="Text Placeholder 53">
            <a:extLst>
              <a:ext uri="{FF2B5EF4-FFF2-40B4-BE49-F238E27FC236}">
                <a16:creationId xmlns:a16="http://schemas.microsoft.com/office/drawing/2014/main" id="{557CA5AE-94CC-00B6-D329-8FA897E9862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1437148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7" name="Text Placeholder 55">
            <a:extLst>
              <a:ext uri="{FF2B5EF4-FFF2-40B4-BE49-F238E27FC236}">
                <a16:creationId xmlns:a16="http://schemas.microsoft.com/office/drawing/2014/main" id="{82058904-DFF1-EB56-D022-783189B7FAA8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2514109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B05E6D32-49BA-B9D9-008E-62CAD14C92C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3598273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2" name="Text Placeholder 53">
            <a:extLst>
              <a:ext uri="{FF2B5EF4-FFF2-40B4-BE49-F238E27FC236}">
                <a16:creationId xmlns:a16="http://schemas.microsoft.com/office/drawing/2014/main" id="{52F4EBD7-880B-E2DB-B8F4-B851B774CA3C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4678836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3" name="Text Placeholder 55">
            <a:extLst>
              <a:ext uri="{FF2B5EF4-FFF2-40B4-BE49-F238E27FC236}">
                <a16:creationId xmlns:a16="http://schemas.microsoft.com/office/drawing/2014/main" id="{7CCBA9B6-8B90-E9CA-1A6A-C4C473F9D4C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759398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4" name="Text Placeholder 57">
            <a:extLst>
              <a:ext uri="{FF2B5EF4-FFF2-40B4-BE49-F238E27FC236}">
                <a16:creationId xmlns:a16="http://schemas.microsoft.com/office/drawing/2014/main" id="{4B01F6AE-527D-56A4-C903-9EA490816403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861572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9" name="Text Placeholder 51">
            <a:extLst>
              <a:ext uri="{FF2B5EF4-FFF2-40B4-BE49-F238E27FC236}">
                <a16:creationId xmlns:a16="http://schemas.microsoft.com/office/drawing/2014/main" id="{EE6B74B7-6165-7B5D-1B73-437EA43C7CE1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360188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0" name="Text Placeholder 53">
            <a:extLst>
              <a:ext uri="{FF2B5EF4-FFF2-40B4-BE49-F238E27FC236}">
                <a16:creationId xmlns:a16="http://schemas.microsoft.com/office/drawing/2014/main" id="{364C69A9-6C4C-D58C-D086-20254B52E7AC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1437148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1" name="Text Placeholder 55">
            <a:extLst>
              <a:ext uri="{FF2B5EF4-FFF2-40B4-BE49-F238E27FC236}">
                <a16:creationId xmlns:a16="http://schemas.microsoft.com/office/drawing/2014/main" id="{4BE77CC7-8CF4-CF59-2328-9EBE4B72853D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2514109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2" name="Text Placeholder 57">
            <a:extLst>
              <a:ext uri="{FF2B5EF4-FFF2-40B4-BE49-F238E27FC236}">
                <a16:creationId xmlns:a16="http://schemas.microsoft.com/office/drawing/2014/main" id="{5783C6D4-A8B0-1816-B715-519700F6E4C9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3598273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6" name="Text Placeholder 53">
            <a:extLst>
              <a:ext uri="{FF2B5EF4-FFF2-40B4-BE49-F238E27FC236}">
                <a16:creationId xmlns:a16="http://schemas.microsoft.com/office/drawing/2014/main" id="{566295A4-C37F-960F-307E-7F80885E4CBF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4678836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7" name="Text Placeholder 55">
            <a:extLst>
              <a:ext uri="{FF2B5EF4-FFF2-40B4-BE49-F238E27FC236}">
                <a16:creationId xmlns:a16="http://schemas.microsoft.com/office/drawing/2014/main" id="{F09A6CBD-205C-DF1C-78C4-BF084B11A58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759398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8" name="Text Placeholder 57">
            <a:extLst>
              <a:ext uri="{FF2B5EF4-FFF2-40B4-BE49-F238E27FC236}">
                <a16:creationId xmlns:a16="http://schemas.microsoft.com/office/drawing/2014/main" id="{1A424125-2838-2B60-13D5-B2BAD86C4624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6861572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ACEA83A2-01BA-8AE4-C2D3-10B6CDA3706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8877160" y="4780722"/>
            <a:ext cx="2960640" cy="1716916"/>
          </a:xfrm>
        </p:spPr>
        <p:txBody>
          <a:bodyPr anchor="b" anchorCtr="0"/>
          <a:lstStyle>
            <a:lvl1pPr marL="0" indent="0" algn="r">
              <a:buFont typeface="Arial" panose="020B0604020202020204" pitchFamily="34" charset="0"/>
              <a:buNone/>
              <a:defRPr sz="1200" b="0" cap="all">
                <a:latin typeface="+mn-lt"/>
              </a:defRPr>
            </a:lvl1pPr>
            <a:lvl2pPr marL="0" indent="0" algn="r">
              <a:buNone/>
              <a:defRPr sz="1200" b="0" cap="all">
                <a:latin typeface="+mn-lt"/>
              </a:defRPr>
            </a:lvl2pPr>
            <a:lvl3pPr marL="0" indent="0" algn="r">
              <a:buNone/>
              <a:defRPr sz="1200" b="0" cap="all">
                <a:latin typeface="+mn-lt"/>
              </a:defRPr>
            </a:lvl3pPr>
            <a:lvl4pPr marL="0" indent="0" algn="r">
              <a:buNone/>
              <a:defRPr sz="1200" b="0" cap="all">
                <a:latin typeface="+mn-lt"/>
              </a:defRPr>
            </a:lvl4pPr>
            <a:lvl5pPr marL="0" indent="0" algn="r">
              <a:buNone/>
              <a:defRPr sz="1200" b="0" cap="all">
                <a:latin typeface="+mn-lt"/>
              </a:defRPr>
            </a:lvl5pPr>
            <a:lvl6pPr marL="0" indent="0" algn="r">
              <a:buNone/>
              <a:defRPr sz="1200" b="0" cap="all">
                <a:latin typeface="+mn-lt"/>
              </a:defRPr>
            </a:lvl6pPr>
            <a:lvl7pPr marL="0" indent="0" algn="r">
              <a:buNone/>
              <a:defRPr sz="1200" b="0" cap="all">
                <a:latin typeface="+mn-lt"/>
              </a:defRPr>
            </a:lvl7pPr>
            <a:lvl8pPr marL="0" indent="0" algn="r">
              <a:buNone/>
              <a:defRPr sz="1200" b="0" cap="all">
                <a:latin typeface="+mn-lt"/>
              </a:defRPr>
            </a:lvl8pPr>
            <a:lvl9pPr marL="0" indent="0" algn="r">
              <a:buNone/>
              <a:defRPr sz="1200" b="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</p:spTree>
    <p:extLst>
      <p:ext uri="{BB962C8B-B14F-4D97-AF65-F5344CB8AC3E}">
        <p14:creationId xmlns:p14="http://schemas.microsoft.com/office/powerpoint/2010/main" val="372118607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4B8E136-E117-42A9-A6F2-2470AA39F0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5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8" name="Text Placeholder background">
            <a:extLst>
              <a:ext uri="{FF2B5EF4-FFF2-40B4-BE49-F238E27FC236}">
                <a16:creationId xmlns:a16="http://schemas.microsoft.com/office/drawing/2014/main" id="{49B3B134-22E1-EC53-EE96-2F1DA1AEE9A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7" y="358776"/>
            <a:ext cx="4571568" cy="6138863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FAB5AB8-2A3A-EC43-3BF2-8727B842F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305" y="360000"/>
            <a:ext cx="6543456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F8C1A55-5FBE-CBAC-78EC-59311AB4A6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92305" y="626324"/>
            <a:ext cx="6543456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D6E9B2-1AF2-4449-B871-54E998FD434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19CC4C-6365-40AD-A887-1A7E4A902DF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215309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B97C17C9-B9C5-47D1-9050-2FA6A12BC4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8E16EF3E-8BB6-0359-C4C3-87BDB8F545F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78656" y="10080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05728" y="10080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251896" y="10080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225723" y="10080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305727" y="2638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78656" y="2638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83C9C8D-63B3-4187-ABE3-0D600C0A68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251896" y="2638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52BC476-88D1-4D99-8B6B-007FB91475C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225723" y="2638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6C06DA1-EBA2-4DF7-A638-5294A1981C9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305727" y="4330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A5C6329C-D607-4C42-9D1E-1E788B0921AB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78656" y="4330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Euclid Flex" panose="020B0500030000000000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5227146C-1DC7-4E6D-A60B-1529631888C2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251896" y="4330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102631CC-B615-4AE0-A5C0-000D2A0113E5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10225723" y="4330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7" y="1008000"/>
            <a:ext cx="3583866" cy="2005200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4CE11A7-B286-4542-A784-29F43315685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60187" y="3171600"/>
            <a:ext cx="3583866" cy="33264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E250783-0C4B-5757-BA56-75008FA5F8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0B5B867-9E06-5FA2-8FAF-9DC191575E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05728" y="5590800"/>
            <a:ext cx="1606436" cy="223200"/>
          </a:xfrm>
          <a:noFill/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05727" y="22716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78656" y="22716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251896" y="22716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225723" y="22716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F876C36-A36F-4164-8A91-BCACB4709C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05727" y="39348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29D200B-A02E-48B0-8249-61209D663E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78656" y="39348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F9AABC57-906F-455D-9C3E-66ECC2387B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51896" y="39348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E935B62-CA54-4FD0-A765-515DD6E001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225723" y="39348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8A7BC760-8878-4DB1-881F-BC8752FB252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78656" y="5590800"/>
            <a:ext cx="1613640" cy="223200"/>
          </a:xfrm>
          <a:noFill/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9FB1784-22FE-47B7-A48D-CFAE1461839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251896" y="5590800"/>
            <a:ext cx="1613640" cy="223200"/>
          </a:xfrm>
          <a:noFill/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86D7AE2E-1EA8-4CEF-9930-D28D8406017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225723" y="5590800"/>
            <a:ext cx="1613640" cy="223200"/>
          </a:xfrm>
          <a:noFill/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27FF3BF3-D4DC-4BCD-8CA3-D011CD15EFA0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4310718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D8B3DCD2-610C-49D5-ACAD-CCD6009D5C4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5296483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7F5470A3-6EBA-4E3C-B4B8-465BC1F85346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282248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C25E9830-971B-4E49-9FEF-0523525F131C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7268014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0" name="Picture Placeholder 49">
            <a:extLst>
              <a:ext uri="{FF2B5EF4-FFF2-40B4-BE49-F238E27FC236}">
                <a16:creationId xmlns:a16="http://schemas.microsoft.com/office/drawing/2014/main" id="{B9122BBF-DF04-444F-8C61-3F2AB79BEEDB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253779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5225CEBC-6600-4E5E-A555-AFC956A4CE86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9239544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4" name="Picture Placeholder 53">
            <a:extLst>
              <a:ext uri="{FF2B5EF4-FFF2-40B4-BE49-F238E27FC236}">
                <a16:creationId xmlns:a16="http://schemas.microsoft.com/office/drawing/2014/main" id="{A847747F-7A75-42FD-BEC2-A8BF30F8BCE3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10225309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983B2226-2C48-4281-8DE3-30436CACF7FA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1211074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EC4280-9055-4D01-8685-E96AEBC615B9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2220486-C0CB-4641-B05B-D8D7A53F85CB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785437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11B381A-1631-4B71-A09B-A4EEAB35A5F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5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Text Placeholder background">
            <a:extLst>
              <a:ext uri="{FF2B5EF4-FFF2-40B4-BE49-F238E27FC236}">
                <a16:creationId xmlns:a16="http://schemas.microsoft.com/office/drawing/2014/main" id="{07AC3D9A-9F03-6797-7305-A169DE138F0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358777"/>
            <a:ext cx="10491261" cy="5278814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1BE6428-EB11-4BB9-E549-50F082ECA7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5743573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6E5E939-36A0-F1A1-4955-E31A12CCEF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009897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19B156-1D4A-47DC-B3B4-1CCBBAA13F7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48272D-C334-4330-8191-FFAD7C92BFD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903665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27DB31A3-D8B1-4156-B96D-21BCB01397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3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33" name="Rectangle 4">
            <a:extLst>
              <a:ext uri="{FF2B5EF4-FFF2-40B4-BE49-F238E27FC236}">
                <a16:creationId xmlns:a16="http://schemas.microsoft.com/office/drawing/2014/main" id="{E62016EB-5545-4D6B-85ED-331102ED9F0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251358" y="360000"/>
            <a:ext cx="3586804" cy="6137638"/>
          </a:xfrm>
          <a:prstGeom prst="rect">
            <a:avLst/>
          </a:prstGeom>
          <a:solidFill>
            <a:srgbClr val="ECE8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6770F7F-EFE4-345B-95E0-A9E1839DB3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7531521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E8D7483-88B0-7361-79BE-8D1AF059F9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7531521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1008000"/>
            <a:ext cx="1612514" cy="1620000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05956" y="1008000"/>
            <a:ext cx="1612151" cy="16200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331664" y="1008000"/>
            <a:ext cx="1613640" cy="16200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278657" y="1008000"/>
            <a:ext cx="1612151" cy="16200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8962" y="2682000"/>
            <a:ext cx="1613740" cy="262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31664" y="2682000"/>
            <a:ext cx="1620844" cy="262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05954" y="2682000"/>
            <a:ext cx="1612152" cy="262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78657" y="2682000"/>
            <a:ext cx="1612151" cy="262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28388" y="540000"/>
            <a:ext cx="3223678" cy="3060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FF45A0-874C-4819-BA43-1B829C76055F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D821679-20B4-4E27-A404-4324EF2438F4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753240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8CE8CDAC-C599-45B2-80E0-17BD532CB43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9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CDF2ECDE-646E-4C1D-ACC1-2F8B51936EE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 bwMode="white">
          <a:xfrm>
            <a:off x="358962" y="358776"/>
            <a:ext cx="5564898" cy="5569939"/>
          </a:xfrm>
          <a:prstGeom prst="rect">
            <a:avLst/>
          </a:prstGeom>
          <a:solidFill>
            <a:srgbClr val="ECE8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85272" y="360000"/>
            <a:ext cx="5564897" cy="5562000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39056" y="540668"/>
            <a:ext cx="5204710" cy="2861332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8ADFE0-F56C-43E5-973F-8B7523DC5CC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214033-692F-4053-BC88-BBA5954EA081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37957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6" y="2578743"/>
            <a:ext cx="4537959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6" y="3840384"/>
            <a:ext cx="4537959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8671756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ro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23037C1-7C4C-4F45-8C52-D9BC522463C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143E3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D26C765-6258-460F-A7F9-288459D0DE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invGray">
          <a:xfrm>
            <a:off x="9864936" y="1092145"/>
            <a:ext cx="1247849" cy="237703"/>
          </a:xfrm>
          <a:custGeom>
            <a:avLst/>
            <a:gdLst>
              <a:gd name="connsiteX0" fmla="*/ 40212 h 835195"/>
              <a:gd name="connsiteY0" fmla="*/ 40212 h 835195"/>
              <a:gd name="connsiteX1" fmla="*/ 40212 h 835195"/>
              <a:gd name="connsiteY1" fmla="*/ 40212 h 835195"/>
              <a:gd name="connsiteX2" fmla="*/ 40212 h 835195"/>
              <a:gd name="connsiteY2" fmla="*/ 40212 h 835195"/>
              <a:gd name="connsiteX3" fmla="*/ 40212 h 835195"/>
              <a:gd name="connsiteY3" fmla="*/ 40212 h 835195"/>
              <a:gd name="connsiteX4" fmla="*/ 40212 h 835195"/>
              <a:gd name="connsiteY4" fmla="*/ 40212 h 835195"/>
              <a:gd name="connsiteX5" fmla="*/ 40212 h 835195"/>
              <a:gd name="connsiteY5" fmla="*/ 40212 h 835195"/>
              <a:gd name="connsiteX6" fmla="*/ 40212 h 835195"/>
              <a:gd name="connsiteY6" fmla="*/ 40212 h 835195"/>
              <a:gd name="connsiteX7" fmla="*/ 40212 h 835195"/>
              <a:gd name="connsiteY7" fmla="*/ 40212 h 835195"/>
              <a:gd name="connsiteX8" fmla="*/ 40212 h 835195"/>
              <a:gd name="connsiteY8" fmla="*/ 40212 h 835195"/>
              <a:gd name="connsiteX9" fmla="*/ 40212 h 835195"/>
              <a:gd name="connsiteY9" fmla="*/ 40212 h 835195"/>
              <a:gd name="connsiteX10" fmla="*/ 40212 h 835195"/>
              <a:gd name="connsiteY10" fmla="*/ 40212 h 835195"/>
              <a:gd name="connsiteX11" fmla="*/ 40212 h 835195"/>
              <a:gd name="connsiteY11" fmla="*/ 40212 h 835195"/>
              <a:gd name="connsiteX12" fmla="*/ 40212 h 835195"/>
              <a:gd name="connsiteY12" fmla="*/ 40212 h 835195"/>
              <a:gd name="connsiteX13" fmla="*/ 40212 h 835195"/>
              <a:gd name="connsiteY13" fmla="*/ 40212 h 835195"/>
              <a:gd name="connsiteX14" fmla="*/ 40212 h 835195"/>
              <a:gd name="connsiteY14" fmla="*/ 40212 h 835195"/>
              <a:gd name="connsiteX15" fmla="*/ 40212 h 835195"/>
              <a:gd name="connsiteY15" fmla="*/ 40212 h 835195"/>
              <a:gd name="connsiteX16" fmla="*/ 40212 h 835195"/>
              <a:gd name="connsiteY16" fmla="*/ 40212 h 835195"/>
              <a:gd name="connsiteX17" fmla="*/ 40212 h 835195"/>
              <a:gd name="connsiteY17" fmla="*/ 40212 h 835195"/>
              <a:gd name="connsiteX18" fmla="*/ 40212 h 835195"/>
              <a:gd name="connsiteY18" fmla="*/ 40212 h 835195"/>
              <a:gd name="connsiteX19" fmla="*/ 40212 h 835195"/>
              <a:gd name="connsiteY19" fmla="*/ 40212 h 835195"/>
              <a:gd name="connsiteX20" fmla="*/ 40212 h 835195"/>
              <a:gd name="connsiteY20" fmla="*/ 40212 h 835195"/>
              <a:gd name="connsiteX21" fmla="*/ 40212 h 835195"/>
              <a:gd name="connsiteY21" fmla="*/ 40212 h 835195"/>
              <a:gd name="connsiteX22" fmla="*/ 40212 h 835195"/>
              <a:gd name="connsiteY22" fmla="*/ 40212 h 835195"/>
              <a:gd name="connsiteX23" fmla="*/ 40212 h 835195"/>
              <a:gd name="connsiteY23" fmla="*/ 40212 h 835195"/>
              <a:gd name="connsiteX24" fmla="*/ 40212 h 835195"/>
              <a:gd name="connsiteY24" fmla="*/ 40212 h 835195"/>
              <a:gd name="connsiteX25" fmla="*/ 40212 h 835195"/>
              <a:gd name="connsiteY25" fmla="*/ 40212 h 835195"/>
              <a:gd name="connsiteX26" fmla="*/ 40212 h 835195"/>
              <a:gd name="connsiteY26" fmla="*/ 40212 h 835195"/>
              <a:gd name="connsiteX27" fmla="*/ 40212 h 835195"/>
              <a:gd name="connsiteY27" fmla="*/ 40212 h 835195"/>
              <a:gd name="connsiteX28" fmla="*/ 40212 h 835195"/>
              <a:gd name="connsiteY28" fmla="*/ 40212 h 835195"/>
              <a:gd name="connsiteX29" fmla="*/ 40212 h 835195"/>
              <a:gd name="connsiteY29" fmla="*/ 40212 h 835195"/>
              <a:gd name="connsiteX30" fmla="*/ 40212 h 835195"/>
              <a:gd name="connsiteY30" fmla="*/ 40212 h 835195"/>
              <a:gd name="connsiteX31" fmla="*/ 40212 h 835195"/>
              <a:gd name="connsiteY31" fmla="*/ 40212 h 835195"/>
              <a:gd name="connsiteX32" fmla="*/ 40212 h 835195"/>
              <a:gd name="connsiteY32" fmla="*/ 40212 h 835195"/>
              <a:gd name="connsiteX33" fmla="*/ 40212 h 835195"/>
              <a:gd name="connsiteY33" fmla="*/ 40212 h 835195"/>
              <a:gd name="connsiteX34" fmla="*/ 40212 h 835195"/>
              <a:gd name="connsiteY34" fmla="*/ 40212 h 835195"/>
              <a:gd name="connsiteX35" fmla="*/ 40212 h 835195"/>
              <a:gd name="connsiteY35" fmla="*/ 40212 h 835195"/>
              <a:gd name="connsiteX36" fmla="*/ 40212 h 835195"/>
              <a:gd name="connsiteY36" fmla="*/ 40212 h 835195"/>
              <a:gd name="connsiteX37" fmla="*/ 40212 h 835195"/>
              <a:gd name="connsiteY37" fmla="*/ 40212 h 835195"/>
              <a:gd name="connsiteX38" fmla="*/ 40212 h 835195"/>
              <a:gd name="connsiteY38" fmla="*/ 40212 h 835195"/>
              <a:gd name="connsiteX39" fmla="*/ 40212 h 835195"/>
              <a:gd name="connsiteY39" fmla="*/ 40212 h 835195"/>
              <a:gd name="connsiteX40" fmla="*/ 40212 h 835195"/>
              <a:gd name="connsiteY40" fmla="*/ 40212 h 835195"/>
              <a:gd name="connsiteX41" fmla="*/ 40212 h 835195"/>
              <a:gd name="connsiteY41" fmla="*/ 40212 h 835195"/>
              <a:gd name="connsiteX42" fmla="*/ 40212 h 835195"/>
              <a:gd name="connsiteY42" fmla="*/ 40212 h 835195"/>
              <a:gd name="connsiteX43" fmla="*/ 40212 h 835195"/>
              <a:gd name="connsiteY43" fmla="*/ 40212 h 835195"/>
              <a:gd name="connsiteX44" fmla="*/ 40212 h 835195"/>
              <a:gd name="connsiteY44" fmla="*/ 40212 h 835195"/>
              <a:gd name="connsiteX45" fmla="*/ 40212 h 835195"/>
              <a:gd name="connsiteY45" fmla="*/ 40212 h 835195"/>
              <a:gd name="connsiteX46" fmla="*/ 40212 h 835195"/>
              <a:gd name="connsiteY46" fmla="*/ 40212 h 835195"/>
              <a:gd name="connsiteX47" fmla="*/ 40212 h 835195"/>
              <a:gd name="connsiteY47" fmla="*/ 40212 h 835195"/>
              <a:gd name="connsiteX48" fmla="*/ 40212 h 835195"/>
              <a:gd name="connsiteY48" fmla="*/ 40212 h 835195"/>
              <a:gd name="connsiteX49" fmla="*/ 40212 h 835195"/>
              <a:gd name="connsiteY49" fmla="*/ 40212 h 835195"/>
              <a:gd name="connsiteX50" fmla="*/ 40212 h 835195"/>
              <a:gd name="connsiteY50" fmla="*/ 40212 h 835195"/>
              <a:gd name="connsiteX51" fmla="*/ 40212 h 835195"/>
              <a:gd name="connsiteY51" fmla="*/ 40212 h 835195"/>
              <a:gd name="connsiteX52" fmla="*/ 40212 h 835195"/>
              <a:gd name="connsiteY52" fmla="*/ 40212 h 835195"/>
              <a:gd name="connsiteX53" fmla="*/ 40212 h 835195"/>
              <a:gd name="connsiteY53" fmla="*/ 40212 h 835195"/>
              <a:gd name="connsiteX54" fmla="*/ 40212 h 835195"/>
              <a:gd name="connsiteY54" fmla="*/ 40212 h 835195"/>
              <a:gd name="connsiteX55" fmla="*/ 40212 h 835195"/>
              <a:gd name="connsiteY55" fmla="*/ 40212 h 835195"/>
              <a:gd name="connsiteX56" fmla="*/ 40212 h 835195"/>
              <a:gd name="connsiteY56" fmla="*/ 40212 h 835195"/>
              <a:gd name="connsiteX57" fmla="*/ 40212 h 835195"/>
              <a:gd name="connsiteY57" fmla="*/ 40212 h 835195"/>
              <a:gd name="connsiteX58" fmla="*/ 40212 h 835195"/>
              <a:gd name="connsiteY58" fmla="*/ 40212 h 835195"/>
              <a:gd name="connsiteX59" fmla="*/ 40212 h 835195"/>
              <a:gd name="connsiteY59" fmla="*/ 40212 h 835195"/>
              <a:gd name="connsiteX60" fmla="*/ 40212 h 835195"/>
              <a:gd name="connsiteY60" fmla="*/ 40212 h 835195"/>
              <a:gd name="connsiteX61" fmla="*/ 40212 h 835195"/>
              <a:gd name="connsiteY61" fmla="*/ 40212 h 835195"/>
              <a:gd name="connsiteX62" fmla="*/ 40212 h 835195"/>
              <a:gd name="connsiteY62" fmla="*/ 40212 h 835195"/>
              <a:gd name="connsiteX63" fmla="*/ 40212 h 835195"/>
              <a:gd name="connsiteY63" fmla="*/ 40212 h 835195"/>
              <a:gd name="connsiteX64" fmla="*/ 40212 h 835195"/>
              <a:gd name="connsiteY64" fmla="*/ 40212 h 835195"/>
              <a:gd name="connsiteX65" fmla="*/ 40212 h 835195"/>
              <a:gd name="connsiteY65" fmla="*/ 40212 h 835195"/>
              <a:gd name="connsiteX66" fmla="*/ 40212 h 835195"/>
              <a:gd name="connsiteY66" fmla="*/ 40212 h 835195"/>
              <a:gd name="connsiteX67" fmla="*/ 40212 h 835195"/>
              <a:gd name="connsiteY67" fmla="*/ 40212 h 835195"/>
              <a:gd name="connsiteX68" fmla="*/ 40212 h 835195"/>
              <a:gd name="connsiteY68" fmla="*/ 40212 h 835195"/>
              <a:gd name="connsiteX69" fmla="*/ 40212 h 835195"/>
              <a:gd name="connsiteY69" fmla="*/ 40212 h 835195"/>
              <a:gd name="connsiteX70" fmla="*/ 40212 h 835195"/>
              <a:gd name="connsiteY70" fmla="*/ 40212 h 835195"/>
              <a:gd name="connsiteX71" fmla="*/ 40212 h 835195"/>
              <a:gd name="connsiteY71" fmla="*/ 40212 h 835195"/>
              <a:gd name="connsiteX72" fmla="*/ 40212 h 835195"/>
              <a:gd name="connsiteY72" fmla="*/ 40212 h 835195"/>
              <a:gd name="connsiteX73" fmla="*/ 40212 h 835195"/>
              <a:gd name="connsiteY73" fmla="*/ 40212 h 835195"/>
              <a:gd name="connsiteX74" fmla="*/ 40212 h 835195"/>
              <a:gd name="connsiteY74" fmla="*/ 40212 h 835195"/>
              <a:gd name="connsiteX75" fmla="*/ 40212 h 835195"/>
              <a:gd name="connsiteY75" fmla="*/ 40212 h 835195"/>
              <a:gd name="connsiteX76" fmla="*/ 40212 h 835195"/>
              <a:gd name="connsiteY76" fmla="*/ 40212 h 835195"/>
              <a:gd name="connsiteX77" fmla="*/ 40212 h 835195"/>
              <a:gd name="connsiteY77" fmla="*/ 40212 h 835195"/>
              <a:gd name="connsiteX78" fmla="*/ 40212 h 835195"/>
              <a:gd name="connsiteY78" fmla="*/ 40212 h 835195"/>
              <a:gd name="connsiteX79" fmla="*/ 40212 h 835195"/>
              <a:gd name="connsiteY79" fmla="*/ 40212 h 8351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ECE8D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6" y="1440000"/>
            <a:ext cx="7579032" cy="3924000"/>
          </a:xfrm>
        </p:spPr>
        <p:txBody>
          <a:bodyPr anchor="b"/>
          <a:lstStyle>
            <a:lvl1pPr algn="l">
              <a:defRPr sz="8000" cap="all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C4C5C5E4-C258-4842-B101-41EEADF7579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C972DD42-D995-4F34-9E73-2090225444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29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4D8BCB-23D7-447E-8AB2-200A7D1528E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solidFill>
                  <a:srgbClr val="ECE8DD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701600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r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DD7877B-2D86-4DB9-A09B-EA0956E1DF2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6858000"/>
          </a:xfrm>
          <a:solidFill>
            <a:schemeClr val="bg1">
              <a:lumMod val="85000"/>
            </a:schemeClr>
          </a:solidFill>
        </p:spPr>
        <p:txBody>
          <a:bodyPr lIns="72000" tIns="72000"/>
          <a:lstStyle>
            <a:lvl1pPr marL="0" indent="0">
              <a:buNone/>
              <a:defRPr sz="1200"/>
            </a:lvl1pPr>
          </a:lstStyle>
          <a:p>
            <a:r>
              <a:rPr lang="en-GB" dirty="0"/>
              <a:t>Click here and insert picture via Insert &gt; Pictur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6" y="1440000"/>
            <a:ext cx="7579032" cy="3924000"/>
          </a:xfrm>
        </p:spPr>
        <p:txBody>
          <a:bodyPr anchor="b"/>
          <a:lstStyle>
            <a:lvl1pPr algn="l">
              <a:defRPr sz="8000" cap="all" baseline="0">
                <a:solidFill>
                  <a:srgbClr val="143E3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7917E2-A5A0-47DE-9383-D0C8E700CE2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864936" y="1092145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143E3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Slide Number Placeholder 9">
            <a:extLst>
              <a:ext uri="{FF2B5EF4-FFF2-40B4-BE49-F238E27FC236}">
                <a16:creationId xmlns:a16="http://schemas.microsoft.com/office/drawing/2014/main" id="{FEF2D4FE-8A7B-4290-8E1F-68256183792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60187" y="6314430"/>
            <a:ext cx="626164" cy="180000"/>
          </a:xfrm>
        </p:spPr>
        <p:txBody>
          <a:bodyPr/>
          <a:lstStyle>
            <a:lvl1pPr>
              <a:defRPr>
                <a:solidFill>
                  <a:srgbClr val="143E3D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Date Placeholder 3" hidden="1">
            <a:extLst>
              <a:ext uri="{FF2B5EF4-FFF2-40B4-BE49-F238E27FC236}">
                <a16:creationId xmlns:a16="http://schemas.microsoft.com/office/drawing/2014/main" id="{08573845-DB94-4812-968D-0D39D81776B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44294AA0-8AAB-4C9A-BC47-6B1807F9A0F7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17" name="Footer Placeholder 4" hidden="1">
            <a:extLst>
              <a:ext uri="{FF2B5EF4-FFF2-40B4-BE49-F238E27FC236}">
                <a16:creationId xmlns:a16="http://schemas.microsoft.com/office/drawing/2014/main" id="{AAACB3DB-CBD9-48DB-B8B8-1629F8A20AC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</p:spTree>
    <p:extLst>
      <p:ext uri="{BB962C8B-B14F-4D97-AF65-F5344CB8AC3E}">
        <p14:creationId xmlns:p14="http://schemas.microsoft.com/office/powerpoint/2010/main" val="100585294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3758D4B7-DB29-4851-8B6F-9AEA488BF2E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299D29C0-6C3A-4160-ADF8-39801DDF763F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349C651E-6388-4B77-B226-76B24743F0D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642F200-5DE4-5535-077A-772FAAB5A9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6B6ABB7C-9C13-2A33-7FCF-82DC3EB2988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7124B8D-7B7B-4CF9-84AE-2006AE41D7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48959CA-0F9C-4708-8B36-D780C78420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031865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77D8C8AC-D7F4-48E6-8A75-16B72CDA21F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21DFA9FE-E169-4D62-BAC6-BAB58052C390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884040-6C21-4D2F-892C-A8539807D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EC7212-EA29-4457-BF7C-36D3DE20B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7037CF33-7216-C874-DFCC-8753E8221A4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5151913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504ED54-33D0-0190-977D-FD5A7FB85A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32799"/>
          <a:stretch/>
        </p:blipFill>
        <p:spPr>
          <a:xfrm>
            <a:off x="10701033" y="3875906"/>
            <a:ext cx="1151366" cy="1702213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C8F77785-DAC9-4046-8A82-0AC40734117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169BB1C-E4D3-48F7-8306-92A6834C3646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9675D1FD-FB10-4317-AAF4-BDCB2224F10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3" name="Slide Number Placeholder 10" hidden="1">
            <a:extLst>
              <a:ext uri="{FF2B5EF4-FFF2-40B4-BE49-F238E27FC236}">
                <a16:creationId xmlns:a16="http://schemas.microsoft.com/office/drawing/2014/main" id="{BBF7E881-962B-4385-8C0A-994D3D7717F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ast overskrift"/>
          <p:cNvSpPr txBox="1"/>
          <p:nvPr userDrawn="1"/>
        </p:nvSpPr>
        <p:spPr>
          <a:xfrm>
            <a:off x="358962" y="358776"/>
            <a:ext cx="11115107" cy="68746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sp>
        <p:nvSpPr>
          <p:cNvPr id="13" name="Text Box 2">
            <a:extLst>
              <a:ext uri="{FF2B5EF4-FFF2-40B4-BE49-F238E27FC236}">
                <a16:creationId xmlns:a16="http://schemas.microsoft.com/office/drawing/2014/main" id="{0BB3B459-CDFE-44C8-879C-511BDE5A64B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72451" y="1279979"/>
            <a:ext cx="2449275" cy="4909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TEXT STYLES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600" dirty="0">
                <a:latin typeface="+mn-lt"/>
                <a:cs typeface="Arial" panose="020B060402020202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</a:b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to view a dropdown menu of possible slide layouts</a:t>
            </a:r>
          </a:p>
          <a:p>
            <a:pPr marL="0" indent="0">
              <a:spcAft>
                <a:spcPts val="600"/>
              </a:spcAft>
              <a:buFont typeface="+mj-lt"/>
              <a:buNone/>
            </a:pPr>
            <a:endParaRPr lang="en-GB" sz="900" dirty="0">
              <a:solidFill>
                <a:srgbClr val="000000"/>
              </a:solidFill>
              <a:latin typeface="+mn-lt"/>
              <a:ea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ac: </a:t>
            </a:r>
            <a:r>
              <a:rPr lang="en-GB" sz="900" b="0" i="0" dirty="0">
                <a:solidFill>
                  <a:srgbClr val="333333"/>
                </a:solidFill>
                <a:effectLst/>
                <a:latin typeface="Euclid Flex"/>
              </a:rPr>
              <a:t>⌘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+ option + ctrl + G</a:t>
            </a:r>
            <a:endParaRPr lang="en-GB" sz="900" dirty="0">
              <a:latin typeface="+mn-lt"/>
              <a:ea typeface="Arial" panose="020B0604020202020204" pitchFamily="34" charset="0"/>
            </a:endParaRPr>
          </a:p>
        </p:txBody>
      </p:sp>
      <p:sp>
        <p:nvSpPr>
          <p:cNvPr id="14" name="Text Box 3">
            <a:extLst>
              <a:ext uri="{FF2B5EF4-FFF2-40B4-BE49-F238E27FC236}">
                <a16:creationId xmlns:a16="http://schemas.microsoft.com/office/drawing/2014/main" id="{66B3FBB4-61DE-493B-8F38-CB78E008D9B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12065" y="1289330"/>
            <a:ext cx="2449275" cy="4462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PICTURES</a:t>
            </a:r>
            <a:endParaRPr lang="en-GB" sz="16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HEADER &amp; FOOTER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</p:txBody>
      </p:sp>
      <p:sp>
        <p:nvSpPr>
          <p:cNvPr id="15" name="Text Box 4">
            <a:extLst>
              <a:ext uri="{FF2B5EF4-FFF2-40B4-BE49-F238E27FC236}">
                <a16:creationId xmlns:a16="http://schemas.microsoft.com/office/drawing/2014/main" id="{17EA80A0-F605-4897-AE2A-18933CAB6DB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51358" y="1279979"/>
            <a:ext cx="2449275" cy="3385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900" b="1" i="0" u="sng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LOR COMBINATIONS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the background and/or logo color by clicking on the background/logo and choose a color from the Custom Colors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inspirational color combinations please visit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  <a:hlinkClick r:id="rId3"/>
              </a:rPr>
              <a:t>www.muuto.com/color-list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722642E-922E-4D3E-9481-C027E3A93CD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66672" y="4617093"/>
            <a:ext cx="475676" cy="17676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37E3D92-3923-49A5-9D66-A01D052984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901" t="45142" r="62601" b="9046"/>
          <a:stretch/>
        </p:blipFill>
        <p:spPr>
          <a:xfrm>
            <a:off x="6541281" y="1572369"/>
            <a:ext cx="341382" cy="321707"/>
          </a:xfrm>
          <a:prstGeom prst="rect">
            <a:avLst/>
          </a:prstGeom>
        </p:spPr>
      </p:pic>
      <p:pic>
        <p:nvPicPr>
          <p:cNvPr id="24" name="Picture 16">
            <a:extLst>
              <a:ext uri="{FF2B5EF4-FFF2-40B4-BE49-F238E27FC236}">
                <a16:creationId xmlns:a16="http://schemas.microsoft.com/office/drawing/2014/main" id="{EE4BD888-DAA9-4A3B-ADD9-0ACB9540A63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766673" y="3800099"/>
            <a:ext cx="329052" cy="505501"/>
          </a:xfrm>
          <a:prstGeom prst="rect">
            <a:avLst/>
          </a:prstGeom>
        </p:spPr>
      </p:pic>
      <p:pic>
        <p:nvPicPr>
          <p:cNvPr id="26" name="Picture 20">
            <a:extLst>
              <a:ext uri="{FF2B5EF4-FFF2-40B4-BE49-F238E27FC236}">
                <a16:creationId xmlns:a16="http://schemas.microsoft.com/office/drawing/2014/main" id="{ADF46DFB-ABDB-43BA-AD93-FDEE2D7642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769372" y="3066944"/>
            <a:ext cx="538745" cy="172841"/>
          </a:xfrm>
          <a:prstGeom prst="rect">
            <a:avLst/>
          </a:prstGeom>
        </p:spPr>
      </p:pic>
      <p:pic>
        <p:nvPicPr>
          <p:cNvPr id="27" name="Picture 19">
            <a:extLst>
              <a:ext uri="{FF2B5EF4-FFF2-40B4-BE49-F238E27FC236}">
                <a16:creationId xmlns:a16="http://schemas.microsoft.com/office/drawing/2014/main" id="{CF6F40E1-EF2A-4675-A88E-429AD3ADD34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617465" y="2290848"/>
            <a:ext cx="313951" cy="543900"/>
          </a:xfrm>
          <a:prstGeom prst="rect">
            <a:avLst/>
          </a:prstGeom>
        </p:spPr>
      </p:pic>
      <p:pic>
        <p:nvPicPr>
          <p:cNvPr id="18" name="Picture 12">
            <a:extLst>
              <a:ext uri="{FF2B5EF4-FFF2-40B4-BE49-F238E27FC236}">
                <a16:creationId xmlns:a16="http://schemas.microsoft.com/office/drawing/2014/main" id="{1EEB59ED-856C-4646-8080-8164D2973D0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611457" y="4249640"/>
            <a:ext cx="378490" cy="54336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18B3BD4-04BC-40A0-B801-FB79B0884023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766673" y="2355654"/>
            <a:ext cx="457381" cy="25714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18B42AA-C5F6-07BD-6881-0C515FE128FC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686540" y="3590750"/>
            <a:ext cx="698533" cy="21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01319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1219835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438" y="656823"/>
            <a:ext cx="11362892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0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0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 dirty="0">
                <a:solidFill>
                  <a:schemeClr val="bg1"/>
                </a:solidFill>
              </a:rPr>
            </a:b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10293" y="3325226"/>
            <a:ext cx="103732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437" y="2588374"/>
            <a:ext cx="10157634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0" noProof="0" dirty="0">
                <a:solidFill>
                  <a:schemeClr val="bg1"/>
                </a:solidFill>
              </a:rPr>
              <a:t>Do not use </a:t>
            </a:r>
            <a:endParaRPr lang="en-GB" sz="2400" b="1" i="0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438" y="5186455"/>
            <a:ext cx="11362889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A2CBC6B-B7D7-4692-BC0C-F137770B9571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57678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2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2" y="3813288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2" y="4055931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8" y="3578084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2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436608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01543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6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6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6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2" y="979789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0334924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1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1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1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0914866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9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438">
              <a:defRPr>
                <a:solidFill>
                  <a:schemeClr val="bg1"/>
                </a:solidFill>
              </a:defRPr>
            </a:lvl2pPr>
            <a:lvl3pPr marL="712875">
              <a:defRPr>
                <a:solidFill>
                  <a:schemeClr val="bg1"/>
                </a:solidFill>
              </a:defRPr>
            </a:lvl3pPr>
            <a:lvl4pPr marL="1069313">
              <a:defRPr>
                <a:solidFill>
                  <a:schemeClr val="bg1"/>
                </a:solidFill>
              </a:defRPr>
            </a:lvl4pPr>
            <a:lvl5pPr marL="1425751"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537425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5EB0F7F7-C918-4EDD-A8A4-FB06D05389D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73378" y="6471243"/>
            <a:ext cx="2342723" cy="22197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217372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0629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9" y="1137919"/>
            <a:ext cx="5387605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886576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343075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656291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46818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6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60"/>
            <a:ext cx="4328932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5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5" y="5605202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5" y="6019189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5" y="6216807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140945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7" y="876060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223369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7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1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4335288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2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2" y="3813288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2" y="4055931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8" y="3578084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2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349729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69745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85443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1" y="1"/>
            <a:ext cx="3999231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9" y="2311401"/>
            <a:ext cx="3580117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4" y="2311403"/>
            <a:ext cx="3580117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4" y="4236721"/>
            <a:ext cx="3580117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9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261267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3" y="1137923"/>
            <a:ext cx="2768600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371212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1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1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1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41246793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6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6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6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2" y="979789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2461228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565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3378B-13A6-4533-A081-0D0E0531CB98}" type="datetime3">
              <a:rPr lang="en-US" smtClean="0"/>
              <a:t>14 March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40779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110572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231820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7577181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6" y="2578743"/>
            <a:ext cx="4537959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6" y="3840384"/>
            <a:ext cx="4537959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891857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64FA27B8-9154-4F95-8315-DB0CCE9842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009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18" progId="TCLayout.ActiveDocument.1">
                  <p:embed/>
                </p:oleObj>
              </mc:Choice>
              <mc:Fallback>
                <p:oleObj name="think-cell Folie" r:id="rId3" imgW="352" imgH="31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64FA27B8-9154-4F95-8315-DB0CCE984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20CDEFBF-D514-4A85-8F6B-0A9A6C4F26E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64"/>
            <a:ext cx="12198350" cy="6866621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343" y="3789040"/>
            <a:ext cx="4537959" cy="105570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en-US" noProof="0"/>
              <a:t>Chapter Title</a:t>
            </a:r>
          </a:p>
          <a:p>
            <a:pPr lvl="0"/>
            <a:r>
              <a:rPr lang="en-US" noProof="0"/>
              <a:t>EY Interstate Light</a:t>
            </a:r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511DE75E-C218-487C-9B44-8A9A7AC1A5B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5085184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84098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ED7F695-D208-4793-A028-86F6F18418A7}" type="datetime3">
              <a:rPr lang="en-US" smtClean="0"/>
              <a:t>14 March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39556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88ED2D-DC3E-4D89-AF80-9836A372492D}" type="datetime3">
              <a:rPr lang="en-US" smtClean="0"/>
              <a:t>14 March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8175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14829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3124325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A3103-A6C0-4AC8-B5D2-D11453B0FBBD}" type="datetime3">
              <a:rPr lang="en-US" noProof="0" smtClean="0"/>
              <a:t>14 March 2025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Y DE PPT Gallery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917" y="1137920"/>
            <a:ext cx="8254800" cy="494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 dirty="0" smtClean="0"/>
            </a:lvl1pPr>
            <a:lvl2pPr marL="271463" marR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2pPr>
            <a:lvl3pPr marL="511175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3pPr>
            <a:lvl4pPr marL="746125" marR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4pPr>
            <a:lvl5pPr marL="944563" marR="0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563" marR="0" lvl="4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FBB59D39-6114-41B0-8E75-E6A062D8042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685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6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8C1C37-D629-4912-94B0-CC62B25036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14" y="892"/>
            <a:ext cx="12194922" cy="685621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3140013" y="1529349"/>
            <a:ext cx="3676423" cy="979702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140013" y="2621286"/>
            <a:ext cx="3676423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D19659BD-653C-4300-9060-420AFAE39587}"/>
              </a:ext>
            </a:extLst>
          </p:cNvPr>
          <p:cNvSpPr>
            <a:spLocks/>
          </p:cNvSpPr>
          <p:nvPr userDrawn="1"/>
        </p:nvSpPr>
        <p:spPr bwMode="auto">
          <a:xfrm>
            <a:off x="10364788" y="4960938"/>
            <a:ext cx="982663" cy="358775"/>
          </a:xfrm>
          <a:custGeom>
            <a:avLst/>
            <a:gdLst>
              <a:gd name="T0" fmla="*/ 2473 w 2473"/>
              <a:gd name="T1" fmla="*/ 0 h 902"/>
              <a:gd name="T2" fmla="*/ 0 w 2473"/>
              <a:gd name="T3" fmla="*/ 902 h 902"/>
              <a:gd name="T4" fmla="*/ 2473 w 2473"/>
              <a:gd name="T5" fmla="*/ 466 h 902"/>
              <a:gd name="T6" fmla="*/ 2473 w 2473"/>
              <a:gd name="T7" fmla="*/ 0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73" h="902">
                <a:moveTo>
                  <a:pt x="2473" y="0"/>
                </a:moveTo>
                <a:lnTo>
                  <a:pt x="0" y="902"/>
                </a:lnTo>
                <a:lnTo>
                  <a:pt x="2473" y="466"/>
                </a:lnTo>
                <a:lnTo>
                  <a:pt x="247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7" name="Freeform 6">
            <a:extLst>
              <a:ext uri="{FF2B5EF4-FFF2-40B4-BE49-F238E27FC236}">
                <a16:creationId xmlns:a16="http://schemas.microsoft.com/office/drawing/2014/main" id="{A4669336-72A1-4233-827A-C41AB4C1CC0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64788" y="5467351"/>
            <a:ext cx="1225550" cy="928688"/>
          </a:xfrm>
          <a:custGeom>
            <a:avLst/>
            <a:gdLst>
              <a:gd name="T0" fmla="*/ 233 w 3088"/>
              <a:gd name="T1" fmla="*/ 1588 h 2339"/>
              <a:gd name="T2" fmla="*/ 253 w 3088"/>
              <a:gd name="T3" fmla="*/ 1795 h 2339"/>
              <a:gd name="T4" fmla="*/ 151 w 3088"/>
              <a:gd name="T5" fmla="*/ 1810 h 2339"/>
              <a:gd name="T6" fmla="*/ 351 w 3088"/>
              <a:gd name="T7" fmla="*/ 1761 h 2339"/>
              <a:gd name="T8" fmla="*/ 416 w 3088"/>
              <a:gd name="T9" fmla="*/ 1857 h 2339"/>
              <a:gd name="T10" fmla="*/ 1140 w 3088"/>
              <a:gd name="T11" fmla="*/ 1652 h 2339"/>
              <a:gd name="T12" fmla="*/ 1216 w 3088"/>
              <a:gd name="T13" fmla="*/ 1738 h 2339"/>
              <a:gd name="T14" fmla="*/ 696 w 3088"/>
              <a:gd name="T15" fmla="*/ 1546 h 2339"/>
              <a:gd name="T16" fmla="*/ 738 w 3088"/>
              <a:gd name="T17" fmla="*/ 1710 h 2339"/>
              <a:gd name="T18" fmla="*/ 860 w 3088"/>
              <a:gd name="T19" fmla="*/ 1854 h 2339"/>
              <a:gd name="T20" fmla="*/ 832 w 3088"/>
              <a:gd name="T21" fmla="*/ 1684 h 2339"/>
              <a:gd name="T22" fmla="*/ 2021 w 3088"/>
              <a:gd name="T23" fmla="*/ 1860 h 2339"/>
              <a:gd name="T24" fmla="*/ 2158 w 3088"/>
              <a:gd name="T25" fmla="*/ 1747 h 2339"/>
              <a:gd name="T26" fmla="*/ 2100 w 3088"/>
              <a:gd name="T27" fmla="*/ 1730 h 2339"/>
              <a:gd name="T28" fmla="*/ 2059 w 3088"/>
              <a:gd name="T29" fmla="*/ 1684 h 2339"/>
              <a:gd name="T30" fmla="*/ 1309 w 3088"/>
              <a:gd name="T31" fmla="*/ 1734 h 2339"/>
              <a:gd name="T32" fmla="*/ 1445 w 3088"/>
              <a:gd name="T33" fmla="*/ 1844 h 2339"/>
              <a:gd name="T34" fmla="*/ 1473 w 3088"/>
              <a:gd name="T35" fmla="*/ 1923 h 2339"/>
              <a:gd name="T36" fmla="*/ 1369 w 3088"/>
              <a:gd name="T37" fmla="*/ 1781 h 2339"/>
              <a:gd name="T38" fmla="*/ 1727 w 3088"/>
              <a:gd name="T39" fmla="*/ 1677 h 2339"/>
              <a:gd name="T40" fmla="*/ 1632 w 3088"/>
              <a:gd name="T41" fmla="*/ 1778 h 2339"/>
              <a:gd name="T42" fmla="*/ 1822 w 3088"/>
              <a:gd name="T43" fmla="*/ 1710 h 2339"/>
              <a:gd name="T44" fmla="*/ 1686 w 3088"/>
              <a:gd name="T45" fmla="*/ 1786 h 2339"/>
              <a:gd name="T46" fmla="*/ 1708 w 3088"/>
              <a:gd name="T47" fmla="*/ 1817 h 2339"/>
              <a:gd name="T48" fmla="*/ 2240 w 3088"/>
              <a:gd name="T49" fmla="*/ 1766 h 2339"/>
              <a:gd name="T50" fmla="*/ 2227 w 3088"/>
              <a:gd name="T51" fmla="*/ 1653 h 2339"/>
              <a:gd name="T52" fmla="*/ 2290 w 3088"/>
              <a:gd name="T53" fmla="*/ 1866 h 2339"/>
              <a:gd name="T54" fmla="*/ 2321 w 3088"/>
              <a:gd name="T55" fmla="*/ 1709 h 2339"/>
              <a:gd name="T56" fmla="*/ 2908 w 3088"/>
              <a:gd name="T57" fmla="*/ 1750 h 2339"/>
              <a:gd name="T58" fmla="*/ 2730 w 3088"/>
              <a:gd name="T59" fmla="*/ 1683 h 2339"/>
              <a:gd name="T60" fmla="*/ 2852 w 3088"/>
              <a:gd name="T61" fmla="*/ 1860 h 2339"/>
              <a:gd name="T62" fmla="*/ 2639 w 3088"/>
              <a:gd name="T63" fmla="*/ 1783 h 2339"/>
              <a:gd name="T64" fmla="*/ 2605 w 3088"/>
              <a:gd name="T65" fmla="*/ 1853 h 2339"/>
              <a:gd name="T66" fmla="*/ 2464 w 3088"/>
              <a:gd name="T67" fmla="*/ 1861 h 2339"/>
              <a:gd name="T68" fmla="*/ 2495 w 3088"/>
              <a:gd name="T69" fmla="*/ 1812 h 2339"/>
              <a:gd name="T70" fmla="*/ 2998 w 3088"/>
              <a:gd name="T71" fmla="*/ 1639 h 2339"/>
              <a:gd name="T72" fmla="*/ 975 w 3088"/>
              <a:gd name="T73" fmla="*/ 1860 h 2339"/>
              <a:gd name="T74" fmla="*/ 2416 w 3088"/>
              <a:gd name="T75" fmla="*/ 2069 h 2339"/>
              <a:gd name="T76" fmla="*/ 2510 w 3088"/>
              <a:gd name="T77" fmla="*/ 2251 h 2339"/>
              <a:gd name="T78" fmla="*/ 2485 w 3088"/>
              <a:gd name="T79" fmla="*/ 2074 h 2339"/>
              <a:gd name="T80" fmla="*/ 627 w 3088"/>
              <a:gd name="T81" fmla="*/ 2078 h 2339"/>
              <a:gd name="T82" fmla="*/ 672 w 3088"/>
              <a:gd name="T83" fmla="*/ 2089 h 2339"/>
              <a:gd name="T84" fmla="*/ 202 w 3088"/>
              <a:gd name="T85" fmla="*/ 2135 h 2339"/>
              <a:gd name="T86" fmla="*/ 310 w 3088"/>
              <a:gd name="T87" fmla="*/ 2174 h 2339"/>
              <a:gd name="T88" fmla="*/ 503 w 3088"/>
              <a:gd name="T89" fmla="*/ 2174 h 2339"/>
              <a:gd name="T90" fmla="*/ 374 w 3088"/>
              <a:gd name="T91" fmla="*/ 2185 h 2339"/>
              <a:gd name="T92" fmla="*/ 439 w 3088"/>
              <a:gd name="T93" fmla="*/ 2185 h 2339"/>
              <a:gd name="T94" fmla="*/ 2197 w 3088"/>
              <a:gd name="T95" fmla="*/ 2040 h 2339"/>
              <a:gd name="T96" fmla="*/ 1597 w 3088"/>
              <a:gd name="T97" fmla="*/ 2027 h 2339"/>
              <a:gd name="T98" fmla="*/ 1937 w 3088"/>
              <a:gd name="T99" fmla="*/ 2047 h 2339"/>
              <a:gd name="T100" fmla="*/ 2002 w 3088"/>
              <a:gd name="T101" fmla="*/ 2254 h 2339"/>
              <a:gd name="T102" fmla="*/ 2061 w 3088"/>
              <a:gd name="T103" fmla="*/ 2041 h 2339"/>
              <a:gd name="T104" fmla="*/ 2002 w 3088"/>
              <a:gd name="T105" fmla="*/ 2073 h 2339"/>
              <a:gd name="T106" fmla="*/ 767 w 3088"/>
              <a:gd name="T107" fmla="*/ 1934 h 2339"/>
              <a:gd name="T108" fmla="*/ 1202 w 3088"/>
              <a:gd name="T109" fmla="*/ 2037 h 2339"/>
              <a:gd name="T110" fmla="*/ 1108 w 3088"/>
              <a:gd name="T111" fmla="*/ 2086 h 2339"/>
              <a:gd name="T112" fmla="*/ 1280 w 3088"/>
              <a:gd name="T113" fmla="*/ 2078 h 2339"/>
              <a:gd name="T114" fmla="*/ 1385 w 3088"/>
              <a:gd name="T115" fmla="*/ 2249 h 2339"/>
              <a:gd name="T116" fmla="*/ 1403 w 3088"/>
              <a:gd name="T117" fmla="*/ 2332 h 2339"/>
              <a:gd name="T118" fmla="*/ 1354 w 3088"/>
              <a:gd name="T119" fmla="*/ 2200 h 2339"/>
              <a:gd name="T120" fmla="*/ 993 w 3088"/>
              <a:gd name="T121" fmla="*/ 2123 h 2339"/>
              <a:gd name="T122" fmla="*/ 397 w 3088"/>
              <a:gd name="T123" fmla="*/ 963 h 2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088" h="2339">
                <a:moveTo>
                  <a:pt x="257" y="1763"/>
                </a:moveTo>
                <a:lnTo>
                  <a:pt x="257" y="1763"/>
                </a:lnTo>
                <a:lnTo>
                  <a:pt x="257" y="1755"/>
                </a:lnTo>
                <a:lnTo>
                  <a:pt x="256" y="1749"/>
                </a:lnTo>
                <a:lnTo>
                  <a:pt x="253" y="1736"/>
                </a:lnTo>
                <a:lnTo>
                  <a:pt x="247" y="1725"/>
                </a:lnTo>
                <a:lnTo>
                  <a:pt x="241" y="1716"/>
                </a:lnTo>
                <a:lnTo>
                  <a:pt x="233" y="1709"/>
                </a:lnTo>
                <a:lnTo>
                  <a:pt x="225" y="1704"/>
                </a:lnTo>
                <a:lnTo>
                  <a:pt x="219" y="1699"/>
                </a:lnTo>
                <a:lnTo>
                  <a:pt x="212" y="1696"/>
                </a:lnTo>
                <a:lnTo>
                  <a:pt x="212" y="1696"/>
                </a:lnTo>
                <a:lnTo>
                  <a:pt x="220" y="1690"/>
                </a:lnTo>
                <a:lnTo>
                  <a:pt x="226" y="1685"/>
                </a:lnTo>
                <a:lnTo>
                  <a:pt x="232" y="1678"/>
                </a:lnTo>
                <a:lnTo>
                  <a:pt x="237" y="1671"/>
                </a:lnTo>
                <a:lnTo>
                  <a:pt x="242" y="1663"/>
                </a:lnTo>
                <a:lnTo>
                  <a:pt x="244" y="1654"/>
                </a:lnTo>
                <a:lnTo>
                  <a:pt x="246" y="1645"/>
                </a:lnTo>
                <a:lnTo>
                  <a:pt x="246" y="1635"/>
                </a:lnTo>
                <a:lnTo>
                  <a:pt x="246" y="1635"/>
                </a:lnTo>
                <a:lnTo>
                  <a:pt x="246" y="1626"/>
                </a:lnTo>
                <a:lnTo>
                  <a:pt x="245" y="1618"/>
                </a:lnTo>
                <a:lnTo>
                  <a:pt x="243" y="1610"/>
                </a:lnTo>
                <a:lnTo>
                  <a:pt x="241" y="1602"/>
                </a:lnTo>
                <a:lnTo>
                  <a:pt x="237" y="1594"/>
                </a:lnTo>
                <a:lnTo>
                  <a:pt x="233" y="1588"/>
                </a:lnTo>
                <a:lnTo>
                  <a:pt x="227" y="1582"/>
                </a:lnTo>
                <a:lnTo>
                  <a:pt x="222" y="1577"/>
                </a:lnTo>
                <a:lnTo>
                  <a:pt x="215" y="1572"/>
                </a:lnTo>
                <a:lnTo>
                  <a:pt x="209" y="1568"/>
                </a:lnTo>
                <a:lnTo>
                  <a:pt x="201" y="1565"/>
                </a:lnTo>
                <a:lnTo>
                  <a:pt x="192" y="1561"/>
                </a:lnTo>
                <a:lnTo>
                  <a:pt x="183" y="1559"/>
                </a:lnTo>
                <a:lnTo>
                  <a:pt x="173" y="1557"/>
                </a:lnTo>
                <a:lnTo>
                  <a:pt x="163" y="1557"/>
                </a:lnTo>
                <a:lnTo>
                  <a:pt x="152" y="1556"/>
                </a:lnTo>
                <a:lnTo>
                  <a:pt x="22" y="1556"/>
                </a:lnTo>
                <a:lnTo>
                  <a:pt x="22" y="1860"/>
                </a:lnTo>
                <a:lnTo>
                  <a:pt x="151" y="1860"/>
                </a:lnTo>
                <a:lnTo>
                  <a:pt x="151" y="1860"/>
                </a:lnTo>
                <a:lnTo>
                  <a:pt x="163" y="1860"/>
                </a:lnTo>
                <a:lnTo>
                  <a:pt x="174" y="1859"/>
                </a:lnTo>
                <a:lnTo>
                  <a:pt x="185" y="1857"/>
                </a:lnTo>
                <a:lnTo>
                  <a:pt x="195" y="1854"/>
                </a:lnTo>
                <a:lnTo>
                  <a:pt x="205" y="1850"/>
                </a:lnTo>
                <a:lnTo>
                  <a:pt x="214" y="1846"/>
                </a:lnTo>
                <a:lnTo>
                  <a:pt x="222" y="1840"/>
                </a:lnTo>
                <a:lnTo>
                  <a:pt x="228" y="1835"/>
                </a:lnTo>
                <a:lnTo>
                  <a:pt x="235" y="1828"/>
                </a:lnTo>
                <a:lnTo>
                  <a:pt x="241" y="1821"/>
                </a:lnTo>
                <a:lnTo>
                  <a:pt x="246" y="1813"/>
                </a:lnTo>
                <a:lnTo>
                  <a:pt x="249" y="1804"/>
                </a:lnTo>
                <a:lnTo>
                  <a:pt x="253" y="1795"/>
                </a:lnTo>
                <a:lnTo>
                  <a:pt x="255" y="1785"/>
                </a:lnTo>
                <a:lnTo>
                  <a:pt x="256" y="1774"/>
                </a:lnTo>
                <a:lnTo>
                  <a:pt x="257" y="1763"/>
                </a:lnTo>
                <a:lnTo>
                  <a:pt x="257" y="1763"/>
                </a:lnTo>
                <a:close/>
                <a:moveTo>
                  <a:pt x="151" y="1810"/>
                </a:moveTo>
                <a:lnTo>
                  <a:pt x="78" y="1810"/>
                </a:lnTo>
                <a:lnTo>
                  <a:pt x="78" y="1722"/>
                </a:lnTo>
                <a:lnTo>
                  <a:pt x="151" y="1722"/>
                </a:lnTo>
                <a:lnTo>
                  <a:pt x="151" y="1722"/>
                </a:lnTo>
                <a:lnTo>
                  <a:pt x="162" y="1723"/>
                </a:lnTo>
                <a:lnTo>
                  <a:pt x="171" y="1725"/>
                </a:lnTo>
                <a:lnTo>
                  <a:pt x="179" y="1728"/>
                </a:lnTo>
                <a:lnTo>
                  <a:pt x="185" y="1733"/>
                </a:lnTo>
                <a:lnTo>
                  <a:pt x="191" y="1739"/>
                </a:lnTo>
                <a:lnTo>
                  <a:pt x="194" y="1747"/>
                </a:lnTo>
                <a:lnTo>
                  <a:pt x="196" y="1755"/>
                </a:lnTo>
                <a:lnTo>
                  <a:pt x="198" y="1765"/>
                </a:lnTo>
                <a:lnTo>
                  <a:pt x="198" y="1765"/>
                </a:lnTo>
                <a:lnTo>
                  <a:pt x="196" y="1775"/>
                </a:lnTo>
                <a:lnTo>
                  <a:pt x="194" y="1784"/>
                </a:lnTo>
                <a:lnTo>
                  <a:pt x="190" y="1792"/>
                </a:lnTo>
                <a:lnTo>
                  <a:pt x="185" y="1797"/>
                </a:lnTo>
                <a:lnTo>
                  <a:pt x="179" y="1803"/>
                </a:lnTo>
                <a:lnTo>
                  <a:pt x="171" y="1806"/>
                </a:lnTo>
                <a:lnTo>
                  <a:pt x="161" y="1808"/>
                </a:lnTo>
                <a:lnTo>
                  <a:pt x="151" y="1810"/>
                </a:lnTo>
                <a:lnTo>
                  <a:pt x="151" y="1810"/>
                </a:lnTo>
                <a:close/>
                <a:moveTo>
                  <a:pt x="150" y="1673"/>
                </a:moveTo>
                <a:lnTo>
                  <a:pt x="78" y="1673"/>
                </a:lnTo>
                <a:lnTo>
                  <a:pt x="78" y="1608"/>
                </a:lnTo>
                <a:lnTo>
                  <a:pt x="148" y="1608"/>
                </a:lnTo>
                <a:lnTo>
                  <a:pt x="148" y="1608"/>
                </a:lnTo>
                <a:lnTo>
                  <a:pt x="157" y="1609"/>
                </a:lnTo>
                <a:lnTo>
                  <a:pt x="166" y="1610"/>
                </a:lnTo>
                <a:lnTo>
                  <a:pt x="172" y="1612"/>
                </a:lnTo>
                <a:lnTo>
                  <a:pt x="178" y="1615"/>
                </a:lnTo>
                <a:lnTo>
                  <a:pt x="182" y="1621"/>
                </a:lnTo>
                <a:lnTo>
                  <a:pt x="185" y="1626"/>
                </a:lnTo>
                <a:lnTo>
                  <a:pt x="187" y="1633"/>
                </a:lnTo>
                <a:lnTo>
                  <a:pt x="188" y="1641"/>
                </a:lnTo>
                <a:lnTo>
                  <a:pt x="188" y="1641"/>
                </a:lnTo>
                <a:lnTo>
                  <a:pt x="188" y="1646"/>
                </a:lnTo>
                <a:lnTo>
                  <a:pt x="187" y="1652"/>
                </a:lnTo>
                <a:lnTo>
                  <a:pt x="184" y="1657"/>
                </a:lnTo>
                <a:lnTo>
                  <a:pt x="181" y="1662"/>
                </a:lnTo>
                <a:lnTo>
                  <a:pt x="175" y="1666"/>
                </a:lnTo>
                <a:lnTo>
                  <a:pt x="169" y="1669"/>
                </a:lnTo>
                <a:lnTo>
                  <a:pt x="161" y="1672"/>
                </a:lnTo>
                <a:lnTo>
                  <a:pt x="150" y="1673"/>
                </a:lnTo>
                <a:lnTo>
                  <a:pt x="150" y="1673"/>
                </a:lnTo>
                <a:close/>
                <a:moveTo>
                  <a:pt x="296" y="1764"/>
                </a:moveTo>
                <a:lnTo>
                  <a:pt x="296" y="1639"/>
                </a:lnTo>
                <a:lnTo>
                  <a:pt x="351" y="1639"/>
                </a:lnTo>
                <a:lnTo>
                  <a:pt x="351" y="1761"/>
                </a:lnTo>
                <a:lnTo>
                  <a:pt x="351" y="1761"/>
                </a:lnTo>
                <a:lnTo>
                  <a:pt x="351" y="1773"/>
                </a:lnTo>
                <a:lnTo>
                  <a:pt x="353" y="1785"/>
                </a:lnTo>
                <a:lnTo>
                  <a:pt x="356" y="1794"/>
                </a:lnTo>
                <a:lnTo>
                  <a:pt x="361" y="1802"/>
                </a:lnTo>
                <a:lnTo>
                  <a:pt x="366" y="1807"/>
                </a:lnTo>
                <a:lnTo>
                  <a:pt x="373" y="1812"/>
                </a:lnTo>
                <a:lnTo>
                  <a:pt x="382" y="1814"/>
                </a:lnTo>
                <a:lnTo>
                  <a:pt x="392" y="1815"/>
                </a:lnTo>
                <a:lnTo>
                  <a:pt x="392" y="1815"/>
                </a:lnTo>
                <a:lnTo>
                  <a:pt x="402" y="1814"/>
                </a:lnTo>
                <a:lnTo>
                  <a:pt x="409" y="1812"/>
                </a:lnTo>
                <a:lnTo>
                  <a:pt x="417" y="1807"/>
                </a:lnTo>
                <a:lnTo>
                  <a:pt x="423" y="1802"/>
                </a:lnTo>
                <a:lnTo>
                  <a:pt x="427" y="1794"/>
                </a:lnTo>
                <a:lnTo>
                  <a:pt x="430" y="1784"/>
                </a:lnTo>
                <a:lnTo>
                  <a:pt x="433" y="1773"/>
                </a:lnTo>
                <a:lnTo>
                  <a:pt x="433" y="1761"/>
                </a:lnTo>
                <a:lnTo>
                  <a:pt x="433" y="1639"/>
                </a:lnTo>
                <a:lnTo>
                  <a:pt x="488" y="1639"/>
                </a:lnTo>
                <a:lnTo>
                  <a:pt x="488" y="1860"/>
                </a:lnTo>
                <a:lnTo>
                  <a:pt x="433" y="1860"/>
                </a:lnTo>
                <a:lnTo>
                  <a:pt x="433" y="1843"/>
                </a:lnTo>
                <a:lnTo>
                  <a:pt x="433" y="1843"/>
                </a:lnTo>
                <a:lnTo>
                  <a:pt x="428" y="1848"/>
                </a:lnTo>
                <a:lnTo>
                  <a:pt x="422" y="1853"/>
                </a:lnTo>
                <a:lnTo>
                  <a:pt x="416" y="1857"/>
                </a:lnTo>
                <a:lnTo>
                  <a:pt x="409" y="1859"/>
                </a:lnTo>
                <a:lnTo>
                  <a:pt x="403" y="1862"/>
                </a:lnTo>
                <a:lnTo>
                  <a:pt x="395" y="1864"/>
                </a:lnTo>
                <a:lnTo>
                  <a:pt x="387" y="1865"/>
                </a:lnTo>
                <a:lnTo>
                  <a:pt x="380" y="1866"/>
                </a:lnTo>
                <a:lnTo>
                  <a:pt x="380" y="1866"/>
                </a:lnTo>
                <a:lnTo>
                  <a:pt x="366" y="1865"/>
                </a:lnTo>
                <a:lnTo>
                  <a:pt x="355" y="1862"/>
                </a:lnTo>
                <a:lnTo>
                  <a:pt x="345" y="1859"/>
                </a:lnTo>
                <a:lnTo>
                  <a:pt x="336" y="1855"/>
                </a:lnTo>
                <a:lnTo>
                  <a:pt x="328" y="1849"/>
                </a:lnTo>
                <a:lnTo>
                  <a:pt x="321" y="1844"/>
                </a:lnTo>
                <a:lnTo>
                  <a:pt x="316" y="1836"/>
                </a:lnTo>
                <a:lnTo>
                  <a:pt x="310" y="1828"/>
                </a:lnTo>
                <a:lnTo>
                  <a:pt x="307" y="1821"/>
                </a:lnTo>
                <a:lnTo>
                  <a:pt x="304" y="1813"/>
                </a:lnTo>
                <a:lnTo>
                  <a:pt x="299" y="1795"/>
                </a:lnTo>
                <a:lnTo>
                  <a:pt x="297" y="1779"/>
                </a:lnTo>
                <a:lnTo>
                  <a:pt x="296" y="1764"/>
                </a:lnTo>
                <a:lnTo>
                  <a:pt x="296" y="1764"/>
                </a:lnTo>
                <a:close/>
                <a:moveTo>
                  <a:pt x="1135" y="1860"/>
                </a:moveTo>
                <a:lnTo>
                  <a:pt x="1079" y="1860"/>
                </a:lnTo>
                <a:lnTo>
                  <a:pt x="1079" y="1639"/>
                </a:lnTo>
                <a:lnTo>
                  <a:pt x="1135" y="1639"/>
                </a:lnTo>
                <a:lnTo>
                  <a:pt x="1135" y="1657"/>
                </a:lnTo>
                <a:lnTo>
                  <a:pt x="1135" y="1657"/>
                </a:lnTo>
                <a:lnTo>
                  <a:pt x="1140" y="1652"/>
                </a:lnTo>
                <a:lnTo>
                  <a:pt x="1146" y="1646"/>
                </a:lnTo>
                <a:lnTo>
                  <a:pt x="1152" y="1643"/>
                </a:lnTo>
                <a:lnTo>
                  <a:pt x="1159" y="1640"/>
                </a:lnTo>
                <a:lnTo>
                  <a:pt x="1167" y="1636"/>
                </a:lnTo>
                <a:lnTo>
                  <a:pt x="1173" y="1635"/>
                </a:lnTo>
                <a:lnTo>
                  <a:pt x="1182" y="1634"/>
                </a:lnTo>
                <a:lnTo>
                  <a:pt x="1190" y="1633"/>
                </a:lnTo>
                <a:lnTo>
                  <a:pt x="1190" y="1633"/>
                </a:lnTo>
                <a:lnTo>
                  <a:pt x="1200" y="1634"/>
                </a:lnTo>
                <a:lnTo>
                  <a:pt x="1208" y="1635"/>
                </a:lnTo>
                <a:lnTo>
                  <a:pt x="1217" y="1637"/>
                </a:lnTo>
                <a:lnTo>
                  <a:pt x="1225" y="1640"/>
                </a:lnTo>
                <a:lnTo>
                  <a:pt x="1233" y="1643"/>
                </a:lnTo>
                <a:lnTo>
                  <a:pt x="1239" y="1648"/>
                </a:lnTo>
                <a:lnTo>
                  <a:pt x="1245" y="1653"/>
                </a:lnTo>
                <a:lnTo>
                  <a:pt x="1250" y="1659"/>
                </a:lnTo>
                <a:lnTo>
                  <a:pt x="1256" y="1666"/>
                </a:lnTo>
                <a:lnTo>
                  <a:pt x="1259" y="1674"/>
                </a:lnTo>
                <a:lnTo>
                  <a:pt x="1264" y="1682"/>
                </a:lnTo>
                <a:lnTo>
                  <a:pt x="1266" y="1690"/>
                </a:lnTo>
                <a:lnTo>
                  <a:pt x="1268" y="1700"/>
                </a:lnTo>
                <a:lnTo>
                  <a:pt x="1270" y="1711"/>
                </a:lnTo>
                <a:lnTo>
                  <a:pt x="1271" y="1722"/>
                </a:lnTo>
                <a:lnTo>
                  <a:pt x="1271" y="1734"/>
                </a:lnTo>
                <a:lnTo>
                  <a:pt x="1271" y="1860"/>
                </a:lnTo>
                <a:lnTo>
                  <a:pt x="1216" y="1860"/>
                </a:lnTo>
                <a:lnTo>
                  <a:pt x="1216" y="1738"/>
                </a:lnTo>
                <a:lnTo>
                  <a:pt x="1216" y="1738"/>
                </a:lnTo>
                <a:lnTo>
                  <a:pt x="1216" y="1725"/>
                </a:lnTo>
                <a:lnTo>
                  <a:pt x="1214" y="1714"/>
                </a:lnTo>
                <a:lnTo>
                  <a:pt x="1211" y="1705"/>
                </a:lnTo>
                <a:lnTo>
                  <a:pt x="1206" y="1697"/>
                </a:lnTo>
                <a:lnTo>
                  <a:pt x="1201" y="1691"/>
                </a:lnTo>
                <a:lnTo>
                  <a:pt x="1194" y="1687"/>
                </a:lnTo>
                <a:lnTo>
                  <a:pt x="1186" y="1685"/>
                </a:lnTo>
                <a:lnTo>
                  <a:pt x="1176" y="1684"/>
                </a:lnTo>
                <a:lnTo>
                  <a:pt x="1176" y="1684"/>
                </a:lnTo>
                <a:lnTo>
                  <a:pt x="1167" y="1685"/>
                </a:lnTo>
                <a:lnTo>
                  <a:pt x="1158" y="1687"/>
                </a:lnTo>
                <a:lnTo>
                  <a:pt x="1151" y="1691"/>
                </a:lnTo>
                <a:lnTo>
                  <a:pt x="1146" y="1697"/>
                </a:lnTo>
                <a:lnTo>
                  <a:pt x="1140" y="1705"/>
                </a:lnTo>
                <a:lnTo>
                  <a:pt x="1137" y="1715"/>
                </a:lnTo>
                <a:lnTo>
                  <a:pt x="1135" y="1726"/>
                </a:lnTo>
                <a:lnTo>
                  <a:pt x="1135" y="1738"/>
                </a:lnTo>
                <a:lnTo>
                  <a:pt x="1135" y="1860"/>
                </a:lnTo>
                <a:close/>
                <a:moveTo>
                  <a:pt x="593" y="1742"/>
                </a:moveTo>
                <a:lnTo>
                  <a:pt x="593" y="1860"/>
                </a:lnTo>
                <a:lnTo>
                  <a:pt x="537" y="1860"/>
                </a:lnTo>
                <a:lnTo>
                  <a:pt x="537" y="1639"/>
                </a:lnTo>
                <a:lnTo>
                  <a:pt x="593" y="1639"/>
                </a:lnTo>
                <a:lnTo>
                  <a:pt x="593" y="1742"/>
                </a:lnTo>
                <a:close/>
                <a:moveTo>
                  <a:pt x="641" y="1573"/>
                </a:moveTo>
                <a:lnTo>
                  <a:pt x="696" y="1546"/>
                </a:lnTo>
                <a:lnTo>
                  <a:pt x="696" y="1747"/>
                </a:lnTo>
                <a:lnTo>
                  <a:pt x="696" y="1860"/>
                </a:lnTo>
                <a:lnTo>
                  <a:pt x="641" y="1860"/>
                </a:lnTo>
                <a:lnTo>
                  <a:pt x="641" y="1573"/>
                </a:lnTo>
                <a:close/>
                <a:moveTo>
                  <a:pt x="871" y="1654"/>
                </a:moveTo>
                <a:lnTo>
                  <a:pt x="871" y="1654"/>
                </a:lnTo>
                <a:lnTo>
                  <a:pt x="866" y="1648"/>
                </a:lnTo>
                <a:lnTo>
                  <a:pt x="861" y="1645"/>
                </a:lnTo>
                <a:lnTo>
                  <a:pt x="854" y="1641"/>
                </a:lnTo>
                <a:lnTo>
                  <a:pt x="849" y="1639"/>
                </a:lnTo>
                <a:lnTo>
                  <a:pt x="842" y="1636"/>
                </a:lnTo>
                <a:lnTo>
                  <a:pt x="835" y="1634"/>
                </a:lnTo>
                <a:lnTo>
                  <a:pt x="822" y="1633"/>
                </a:lnTo>
                <a:lnTo>
                  <a:pt x="822" y="1633"/>
                </a:lnTo>
                <a:lnTo>
                  <a:pt x="812" y="1634"/>
                </a:lnTo>
                <a:lnTo>
                  <a:pt x="802" y="1635"/>
                </a:lnTo>
                <a:lnTo>
                  <a:pt x="794" y="1637"/>
                </a:lnTo>
                <a:lnTo>
                  <a:pt x="786" y="1641"/>
                </a:lnTo>
                <a:lnTo>
                  <a:pt x="778" y="1645"/>
                </a:lnTo>
                <a:lnTo>
                  <a:pt x="770" y="1651"/>
                </a:lnTo>
                <a:lnTo>
                  <a:pt x="764" y="1657"/>
                </a:lnTo>
                <a:lnTo>
                  <a:pt x="758" y="1664"/>
                </a:lnTo>
                <a:lnTo>
                  <a:pt x="753" y="1672"/>
                </a:lnTo>
                <a:lnTo>
                  <a:pt x="748" y="1680"/>
                </a:lnTo>
                <a:lnTo>
                  <a:pt x="744" y="1689"/>
                </a:lnTo>
                <a:lnTo>
                  <a:pt x="741" y="1699"/>
                </a:lnTo>
                <a:lnTo>
                  <a:pt x="738" y="1710"/>
                </a:lnTo>
                <a:lnTo>
                  <a:pt x="736" y="1722"/>
                </a:lnTo>
                <a:lnTo>
                  <a:pt x="735" y="1734"/>
                </a:lnTo>
                <a:lnTo>
                  <a:pt x="735" y="1747"/>
                </a:lnTo>
                <a:lnTo>
                  <a:pt x="735" y="1747"/>
                </a:lnTo>
                <a:lnTo>
                  <a:pt x="735" y="1761"/>
                </a:lnTo>
                <a:lnTo>
                  <a:pt x="736" y="1773"/>
                </a:lnTo>
                <a:lnTo>
                  <a:pt x="738" y="1785"/>
                </a:lnTo>
                <a:lnTo>
                  <a:pt x="741" y="1796"/>
                </a:lnTo>
                <a:lnTo>
                  <a:pt x="744" y="1807"/>
                </a:lnTo>
                <a:lnTo>
                  <a:pt x="747" y="1817"/>
                </a:lnTo>
                <a:lnTo>
                  <a:pt x="752" y="1826"/>
                </a:lnTo>
                <a:lnTo>
                  <a:pt x="757" y="1834"/>
                </a:lnTo>
                <a:lnTo>
                  <a:pt x="764" y="1841"/>
                </a:lnTo>
                <a:lnTo>
                  <a:pt x="769" y="1847"/>
                </a:lnTo>
                <a:lnTo>
                  <a:pt x="777" y="1853"/>
                </a:lnTo>
                <a:lnTo>
                  <a:pt x="785" y="1857"/>
                </a:lnTo>
                <a:lnTo>
                  <a:pt x="792" y="1860"/>
                </a:lnTo>
                <a:lnTo>
                  <a:pt x="801" y="1864"/>
                </a:lnTo>
                <a:lnTo>
                  <a:pt x="811" y="1865"/>
                </a:lnTo>
                <a:lnTo>
                  <a:pt x="821" y="1866"/>
                </a:lnTo>
                <a:lnTo>
                  <a:pt x="821" y="1866"/>
                </a:lnTo>
                <a:lnTo>
                  <a:pt x="828" y="1865"/>
                </a:lnTo>
                <a:lnTo>
                  <a:pt x="834" y="1864"/>
                </a:lnTo>
                <a:lnTo>
                  <a:pt x="841" y="1862"/>
                </a:lnTo>
                <a:lnTo>
                  <a:pt x="848" y="1860"/>
                </a:lnTo>
                <a:lnTo>
                  <a:pt x="853" y="1857"/>
                </a:lnTo>
                <a:lnTo>
                  <a:pt x="860" y="1854"/>
                </a:lnTo>
                <a:lnTo>
                  <a:pt x="865" y="1849"/>
                </a:lnTo>
                <a:lnTo>
                  <a:pt x="871" y="1844"/>
                </a:lnTo>
                <a:lnTo>
                  <a:pt x="871" y="1860"/>
                </a:lnTo>
                <a:lnTo>
                  <a:pt x="926" y="1860"/>
                </a:lnTo>
                <a:lnTo>
                  <a:pt x="926" y="1546"/>
                </a:lnTo>
                <a:lnTo>
                  <a:pt x="871" y="1573"/>
                </a:lnTo>
                <a:lnTo>
                  <a:pt x="871" y="1654"/>
                </a:lnTo>
                <a:close/>
                <a:moveTo>
                  <a:pt x="832" y="1815"/>
                </a:moveTo>
                <a:lnTo>
                  <a:pt x="832" y="1815"/>
                </a:lnTo>
                <a:lnTo>
                  <a:pt x="826" y="1814"/>
                </a:lnTo>
                <a:lnTo>
                  <a:pt x="818" y="1812"/>
                </a:lnTo>
                <a:lnTo>
                  <a:pt x="811" y="1808"/>
                </a:lnTo>
                <a:lnTo>
                  <a:pt x="805" y="1802"/>
                </a:lnTo>
                <a:lnTo>
                  <a:pt x="799" y="1793"/>
                </a:lnTo>
                <a:lnTo>
                  <a:pt x="795" y="1781"/>
                </a:lnTo>
                <a:lnTo>
                  <a:pt x="791" y="1765"/>
                </a:lnTo>
                <a:lnTo>
                  <a:pt x="790" y="1746"/>
                </a:lnTo>
                <a:lnTo>
                  <a:pt x="790" y="1746"/>
                </a:lnTo>
                <a:lnTo>
                  <a:pt x="791" y="1728"/>
                </a:lnTo>
                <a:lnTo>
                  <a:pt x="795" y="1715"/>
                </a:lnTo>
                <a:lnTo>
                  <a:pt x="799" y="1704"/>
                </a:lnTo>
                <a:lnTo>
                  <a:pt x="805" y="1696"/>
                </a:lnTo>
                <a:lnTo>
                  <a:pt x="810" y="1689"/>
                </a:lnTo>
                <a:lnTo>
                  <a:pt x="818" y="1686"/>
                </a:lnTo>
                <a:lnTo>
                  <a:pt x="824" y="1684"/>
                </a:lnTo>
                <a:lnTo>
                  <a:pt x="832" y="1684"/>
                </a:lnTo>
                <a:lnTo>
                  <a:pt x="832" y="1684"/>
                </a:lnTo>
                <a:lnTo>
                  <a:pt x="839" y="1684"/>
                </a:lnTo>
                <a:lnTo>
                  <a:pt x="845" y="1686"/>
                </a:lnTo>
                <a:lnTo>
                  <a:pt x="852" y="1688"/>
                </a:lnTo>
                <a:lnTo>
                  <a:pt x="856" y="1691"/>
                </a:lnTo>
                <a:lnTo>
                  <a:pt x="861" y="1695"/>
                </a:lnTo>
                <a:lnTo>
                  <a:pt x="865" y="1698"/>
                </a:lnTo>
                <a:lnTo>
                  <a:pt x="871" y="1706"/>
                </a:lnTo>
                <a:lnTo>
                  <a:pt x="871" y="1793"/>
                </a:lnTo>
                <a:lnTo>
                  <a:pt x="871" y="1793"/>
                </a:lnTo>
                <a:lnTo>
                  <a:pt x="864" y="1801"/>
                </a:lnTo>
                <a:lnTo>
                  <a:pt x="856" y="1807"/>
                </a:lnTo>
                <a:lnTo>
                  <a:pt x="852" y="1811"/>
                </a:lnTo>
                <a:lnTo>
                  <a:pt x="845" y="1813"/>
                </a:lnTo>
                <a:lnTo>
                  <a:pt x="840" y="1814"/>
                </a:lnTo>
                <a:lnTo>
                  <a:pt x="832" y="1815"/>
                </a:lnTo>
                <a:lnTo>
                  <a:pt x="832" y="1815"/>
                </a:lnTo>
                <a:close/>
                <a:moveTo>
                  <a:pt x="2069" y="1633"/>
                </a:moveTo>
                <a:lnTo>
                  <a:pt x="2069" y="1633"/>
                </a:lnTo>
                <a:lnTo>
                  <a:pt x="2064" y="1634"/>
                </a:lnTo>
                <a:lnTo>
                  <a:pt x="2057" y="1635"/>
                </a:lnTo>
                <a:lnTo>
                  <a:pt x="2044" y="1639"/>
                </a:lnTo>
                <a:lnTo>
                  <a:pt x="2032" y="1645"/>
                </a:lnTo>
                <a:lnTo>
                  <a:pt x="2021" y="1654"/>
                </a:lnTo>
                <a:lnTo>
                  <a:pt x="2021" y="1551"/>
                </a:lnTo>
                <a:lnTo>
                  <a:pt x="1966" y="1579"/>
                </a:lnTo>
                <a:lnTo>
                  <a:pt x="1966" y="1860"/>
                </a:lnTo>
                <a:lnTo>
                  <a:pt x="2021" y="1860"/>
                </a:lnTo>
                <a:lnTo>
                  <a:pt x="2021" y="1844"/>
                </a:lnTo>
                <a:lnTo>
                  <a:pt x="2021" y="1844"/>
                </a:lnTo>
                <a:lnTo>
                  <a:pt x="2025" y="1849"/>
                </a:lnTo>
                <a:lnTo>
                  <a:pt x="2032" y="1854"/>
                </a:lnTo>
                <a:lnTo>
                  <a:pt x="2037" y="1857"/>
                </a:lnTo>
                <a:lnTo>
                  <a:pt x="2044" y="1860"/>
                </a:lnTo>
                <a:lnTo>
                  <a:pt x="2049" y="1862"/>
                </a:lnTo>
                <a:lnTo>
                  <a:pt x="2057" y="1864"/>
                </a:lnTo>
                <a:lnTo>
                  <a:pt x="2064" y="1865"/>
                </a:lnTo>
                <a:lnTo>
                  <a:pt x="2070" y="1866"/>
                </a:lnTo>
                <a:lnTo>
                  <a:pt x="2070" y="1866"/>
                </a:lnTo>
                <a:lnTo>
                  <a:pt x="2080" y="1865"/>
                </a:lnTo>
                <a:lnTo>
                  <a:pt x="2090" y="1864"/>
                </a:lnTo>
                <a:lnTo>
                  <a:pt x="2099" y="1861"/>
                </a:lnTo>
                <a:lnTo>
                  <a:pt x="2108" y="1857"/>
                </a:lnTo>
                <a:lnTo>
                  <a:pt x="2116" y="1853"/>
                </a:lnTo>
                <a:lnTo>
                  <a:pt x="2122" y="1848"/>
                </a:lnTo>
                <a:lnTo>
                  <a:pt x="2129" y="1841"/>
                </a:lnTo>
                <a:lnTo>
                  <a:pt x="2134" y="1835"/>
                </a:lnTo>
                <a:lnTo>
                  <a:pt x="2140" y="1826"/>
                </a:lnTo>
                <a:lnTo>
                  <a:pt x="2144" y="1817"/>
                </a:lnTo>
                <a:lnTo>
                  <a:pt x="2148" y="1807"/>
                </a:lnTo>
                <a:lnTo>
                  <a:pt x="2151" y="1797"/>
                </a:lnTo>
                <a:lnTo>
                  <a:pt x="2154" y="1786"/>
                </a:lnTo>
                <a:lnTo>
                  <a:pt x="2155" y="1774"/>
                </a:lnTo>
                <a:lnTo>
                  <a:pt x="2157" y="1761"/>
                </a:lnTo>
                <a:lnTo>
                  <a:pt x="2158" y="1747"/>
                </a:lnTo>
                <a:lnTo>
                  <a:pt x="2158" y="1747"/>
                </a:lnTo>
                <a:lnTo>
                  <a:pt x="2157" y="1734"/>
                </a:lnTo>
                <a:lnTo>
                  <a:pt x="2155" y="1722"/>
                </a:lnTo>
                <a:lnTo>
                  <a:pt x="2153" y="1710"/>
                </a:lnTo>
                <a:lnTo>
                  <a:pt x="2151" y="1699"/>
                </a:lnTo>
                <a:lnTo>
                  <a:pt x="2148" y="1689"/>
                </a:lnTo>
                <a:lnTo>
                  <a:pt x="2143" y="1680"/>
                </a:lnTo>
                <a:lnTo>
                  <a:pt x="2139" y="1672"/>
                </a:lnTo>
                <a:lnTo>
                  <a:pt x="2133" y="1664"/>
                </a:lnTo>
                <a:lnTo>
                  <a:pt x="2128" y="1657"/>
                </a:lnTo>
                <a:lnTo>
                  <a:pt x="2121" y="1651"/>
                </a:lnTo>
                <a:lnTo>
                  <a:pt x="2113" y="1645"/>
                </a:lnTo>
                <a:lnTo>
                  <a:pt x="2106" y="1641"/>
                </a:lnTo>
                <a:lnTo>
                  <a:pt x="2098" y="1637"/>
                </a:lnTo>
                <a:lnTo>
                  <a:pt x="2089" y="1635"/>
                </a:lnTo>
                <a:lnTo>
                  <a:pt x="2079" y="1634"/>
                </a:lnTo>
                <a:lnTo>
                  <a:pt x="2069" y="1633"/>
                </a:lnTo>
                <a:lnTo>
                  <a:pt x="2069" y="1633"/>
                </a:lnTo>
                <a:close/>
                <a:moveTo>
                  <a:pt x="2059" y="1684"/>
                </a:moveTo>
                <a:lnTo>
                  <a:pt x="2059" y="1684"/>
                </a:lnTo>
                <a:lnTo>
                  <a:pt x="2067" y="1685"/>
                </a:lnTo>
                <a:lnTo>
                  <a:pt x="2075" y="1687"/>
                </a:lnTo>
                <a:lnTo>
                  <a:pt x="2081" y="1691"/>
                </a:lnTo>
                <a:lnTo>
                  <a:pt x="2088" y="1698"/>
                </a:lnTo>
                <a:lnTo>
                  <a:pt x="2094" y="1706"/>
                </a:lnTo>
                <a:lnTo>
                  <a:pt x="2097" y="1717"/>
                </a:lnTo>
                <a:lnTo>
                  <a:pt x="2100" y="1730"/>
                </a:lnTo>
                <a:lnTo>
                  <a:pt x="2101" y="1746"/>
                </a:lnTo>
                <a:lnTo>
                  <a:pt x="2101" y="1746"/>
                </a:lnTo>
                <a:lnTo>
                  <a:pt x="2100" y="1762"/>
                </a:lnTo>
                <a:lnTo>
                  <a:pt x="2098" y="1776"/>
                </a:lnTo>
                <a:lnTo>
                  <a:pt x="2096" y="1787"/>
                </a:lnTo>
                <a:lnTo>
                  <a:pt x="2091" y="1797"/>
                </a:lnTo>
                <a:lnTo>
                  <a:pt x="2085" y="1805"/>
                </a:lnTo>
                <a:lnTo>
                  <a:pt x="2078" y="1811"/>
                </a:lnTo>
                <a:lnTo>
                  <a:pt x="2070" y="1814"/>
                </a:lnTo>
                <a:lnTo>
                  <a:pt x="2061" y="1815"/>
                </a:lnTo>
                <a:lnTo>
                  <a:pt x="2061" y="1815"/>
                </a:lnTo>
                <a:lnTo>
                  <a:pt x="2053" y="1814"/>
                </a:lnTo>
                <a:lnTo>
                  <a:pt x="2046" y="1813"/>
                </a:lnTo>
                <a:lnTo>
                  <a:pt x="2041" y="1810"/>
                </a:lnTo>
                <a:lnTo>
                  <a:pt x="2035" y="1807"/>
                </a:lnTo>
                <a:lnTo>
                  <a:pt x="2026" y="1800"/>
                </a:lnTo>
                <a:lnTo>
                  <a:pt x="2021" y="1794"/>
                </a:lnTo>
                <a:lnTo>
                  <a:pt x="2021" y="1706"/>
                </a:lnTo>
                <a:lnTo>
                  <a:pt x="2021" y="1706"/>
                </a:lnTo>
                <a:lnTo>
                  <a:pt x="2024" y="1701"/>
                </a:lnTo>
                <a:lnTo>
                  <a:pt x="2029" y="1697"/>
                </a:lnTo>
                <a:lnTo>
                  <a:pt x="2033" y="1693"/>
                </a:lnTo>
                <a:lnTo>
                  <a:pt x="2037" y="1689"/>
                </a:lnTo>
                <a:lnTo>
                  <a:pt x="2043" y="1687"/>
                </a:lnTo>
                <a:lnTo>
                  <a:pt x="2048" y="1685"/>
                </a:lnTo>
                <a:lnTo>
                  <a:pt x="2054" y="1684"/>
                </a:lnTo>
                <a:lnTo>
                  <a:pt x="2059" y="1684"/>
                </a:lnTo>
                <a:lnTo>
                  <a:pt x="2059" y="1684"/>
                </a:lnTo>
                <a:close/>
                <a:moveTo>
                  <a:pt x="1445" y="1654"/>
                </a:moveTo>
                <a:lnTo>
                  <a:pt x="1445" y="1654"/>
                </a:lnTo>
                <a:lnTo>
                  <a:pt x="1440" y="1650"/>
                </a:lnTo>
                <a:lnTo>
                  <a:pt x="1435" y="1645"/>
                </a:lnTo>
                <a:lnTo>
                  <a:pt x="1428" y="1642"/>
                </a:lnTo>
                <a:lnTo>
                  <a:pt x="1423" y="1639"/>
                </a:lnTo>
                <a:lnTo>
                  <a:pt x="1416" y="1636"/>
                </a:lnTo>
                <a:lnTo>
                  <a:pt x="1409" y="1634"/>
                </a:lnTo>
                <a:lnTo>
                  <a:pt x="1403" y="1634"/>
                </a:lnTo>
                <a:lnTo>
                  <a:pt x="1396" y="1633"/>
                </a:lnTo>
                <a:lnTo>
                  <a:pt x="1396" y="1633"/>
                </a:lnTo>
                <a:lnTo>
                  <a:pt x="1386" y="1634"/>
                </a:lnTo>
                <a:lnTo>
                  <a:pt x="1376" y="1635"/>
                </a:lnTo>
                <a:lnTo>
                  <a:pt x="1367" y="1637"/>
                </a:lnTo>
                <a:lnTo>
                  <a:pt x="1360" y="1641"/>
                </a:lnTo>
                <a:lnTo>
                  <a:pt x="1352" y="1645"/>
                </a:lnTo>
                <a:lnTo>
                  <a:pt x="1344" y="1651"/>
                </a:lnTo>
                <a:lnTo>
                  <a:pt x="1338" y="1657"/>
                </a:lnTo>
                <a:lnTo>
                  <a:pt x="1332" y="1664"/>
                </a:lnTo>
                <a:lnTo>
                  <a:pt x="1327" y="1672"/>
                </a:lnTo>
                <a:lnTo>
                  <a:pt x="1322" y="1680"/>
                </a:lnTo>
                <a:lnTo>
                  <a:pt x="1318" y="1689"/>
                </a:lnTo>
                <a:lnTo>
                  <a:pt x="1314" y="1699"/>
                </a:lnTo>
                <a:lnTo>
                  <a:pt x="1312" y="1710"/>
                </a:lnTo>
                <a:lnTo>
                  <a:pt x="1310" y="1722"/>
                </a:lnTo>
                <a:lnTo>
                  <a:pt x="1309" y="1734"/>
                </a:lnTo>
                <a:lnTo>
                  <a:pt x="1309" y="1747"/>
                </a:lnTo>
                <a:lnTo>
                  <a:pt x="1309" y="1747"/>
                </a:lnTo>
                <a:lnTo>
                  <a:pt x="1309" y="1761"/>
                </a:lnTo>
                <a:lnTo>
                  <a:pt x="1310" y="1773"/>
                </a:lnTo>
                <a:lnTo>
                  <a:pt x="1312" y="1785"/>
                </a:lnTo>
                <a:lnTo>
                  <a:pt x="1314" y="1796"/>
                </a:lnTo>
                <a:lnTo>
                  <a:pt x="1318" y="1807"/>
                </a:lnTo>
                <a:lnTo>
                  <a:pt x="1321" y="1817"/>
                </a:lnTo>
                <a:lnTo>
                  <a:pt x="1327" y="1826"/>
                </a:lnTo>
                <a:lnTo>
                  <a:pt x="1331" y="1834"/>
                </a:lnTo>
                <a:lnTo>
                  <a:pt x="1338" y="1841"/>
                </a:lnTo>
                <a:lnTo>
                  <a:pt x="1343" y="1847"/>
                </a:lnTo>
                <a:lnTo>
                  <a:pt x="1351" y="1853"/>
                </a:lnTo>
                <a:lnTo>
                  <a:pt x="1359" y="1857"/>
                </a:lnTo>
                <a:lnTo>
                  <a:pt x="1366" y="1860"/>
                </a:lnTo>
                <a:lnTo>
                  <a:pt x="1375" y="1864"/>
                </a:lnTo>
                <a:lnTo>
                  <a:pt x="1385" y="1865"/>
                </a:lnTo>
                <a:lnTo>
                  <a:pt x="1395" y="1865"/>
                </a:lnTo>
                <a:lnTo>
                  <a:pt x="1395" y="1865"/>
                </a:lnTo>
                <a:lnTo>
                  <a:pt x="1402" y="1865"/>
                </a:lnTo>
                <a:lnTo>
                  <a:pt x="1408" y="1864"/>
                </a:lnTo>
                <a:lnTo>
                  <a:pt x="1415" y="1862"/>
                </a:lnTo>
                <a:lnTo>
                  <a:pt x="1421" y="1860"/>
                </a:lnTo>
                <a:lnTo>
                  <a:pt x="1428" y="1857"/>
                </a:lnTo>
                <a:lnTo>
                  <a:pt x="1434" y="1853"/>
                </a:lnTo>
                <a:lnTo>
                  <a:pt x="1439" y="1849"/>
                </a:lnTo>
                <a:lnTo>
                  <a:pt x="1445" y="1844"/>
                </a:lnTo>
                <a:lnTo>
                  <a:pt x="1445" y="1849"/>
                </a:lnTo>
                <a:lnTo>
                  <a:pt x="1445" y="1849"/>
                </a:lnTo>
                <a:lnTo>
                  <a:pt x="1445" y="1858"/>
                </a:lnTo>
                <a:lnTo>
                  <a:pt x="1444" y="1868"/>
                </a:lnTo>
                <a:lnTo>
                  <a:pt x="1441" y="1878"/>
                </a:lnTo>
                <a:lnTo>
                  <a:pt x="1439" y="1882"/>
                </a:lnTo>
                <a:lnTo>
                  <a:pt x="1436" y="1887"/>
                </a:lnTo>
                <a:lnTo>
                  <a:pt x="1433" y="1891"/>
                </a:lnTo>
                <a:lnTo>
                  <a:pt x="1428" y="1896"/>
                </a:lnTo>
                <a:lnTo>
                  <a:pt x="1421" y="1899"/>
                </a:lnTo>
                <a:lnTo>
                  <a:pt x="1415" y="1901"/>
                </a:lnTo>
                <a:lnTo>
                  <a:pt x="1407" y="1904"/>
                </a:lnTo>
                <a:lnTo>
                  <a:pt x="1397" y="1905"/>
                </a:lnTo>
                <a:lnTo>
                  <a:pt x="1386" y="1908"/>
                </a:lnTo>
                <a:lnTo>
                  <a:pt x="1374" y="1908"/>
                </a:lnTo>
                <a:lnTo>
                  <a:pt x="1372" y="1908"/>
                </a:lnTo>
                <a:lnTo>
                  <a:pt x="1391" y="1951"/>
                </a:lnTo>
                <a:lnTo>
                  <a:pt x="1392" y="1951"/>
                </a:lnTo>
                <a:lnTo>
                  <a:pt x="1392" y="1951"/>
                </a:lnTo>
                <a:lnTo>
                  <a:pt x="1405" y="1951"/>
                </a:lnTo>
                <a:lnTo>
                  <a:pt x="1417" y="1948"/>
                </a:lnTo>
                <a:lnTo>
                  <a:pt x="1429" y="1946"/>
                </a:lnTo>
                <a:lnTo>
                  <a:pt x="1439" y="1943"/>
                </a:lnTo>
                <a:lnTo>
                  <a:pt x="1449" y="1940"/>
                </a:lnTo>
                <a:lnTo>
                  <a:pt x="1458" y="1935"/>
                </a:lnTo>
                <a:lnTo>
                  <a:pt x="1466" y="1929"/>
                </a:lnTo>
                <a:lnTo>
                  <a:pt x="1473" y="1923"/>
                </a:lnTo>
                <a:lnTo>
                  <a:pt x="1480" y="1915"/>
                </a:lnTo>
                <a:lnTo>
                  <a:pt x="1484" y="1907"/>
                </a:lnTo>
                <a:lnTo>
                  <a:pt x="1490" y="1898"/>
                </a:lnTo>
                <a:lnTo>
                  <a:pt x="1493" y="1888"/>
                </a:lnTo>
                <a:lnTo>
                  <a:pt x="1497" y="1877"/>
                </a:lnTo>
                <a:lnTo>
                  <a:pt x="1499" y="1866"/>
                </a:lnTo>
                <a:lnTo>
                  <a:pt x="1500" y="1854"/>
                </a:lnTo>
                <a:lnTo>
                  <a:pt x="1500" y="1839"/>
                </a:lnTo>
                <a:lnTo>
                  <a:pt x="1500" y="1639"/>
                </a:lnTo>
                <a:lnTo>
                  <a:pt x="1445" y="1639"/>
                </a:lnTo>
                <a:lnTo>
                  <a:pt x="1445" y="1654"/>
                </a:lnTo>
                <a:close/>
                <a:moveTo>
                  <a:pt x="1445" y="1706"/>
                </a:moveTo>
                <a:lnTo>
                  <a:pt x="1445" y="1793"/>
                </a:lnTo>
                <a:lnTo>
                  <a:pt x="1445" y="1793"/>
                </a:lnTo>
                <a:lnTo>
                  <a:pt x="1438" y="1801"/>
                </a:lnTo>
                <a:lnTo>
                  <a:pt x="1429" y="1808"/>
                </a:lnTo>
                <a:lnTo>
                  <a:pt x="1425" y="1811"/>
                </a:lnTo>
                <a:lnTo>
                  <a:pt x="1419" y="1813"/>
                </a:lnTo>
                <a:lnTo>
                  <a:pt x="1413" y="1814"/>
                </a:lnTo>
                <a:lnTo>
                  <a:pt x="1406" y="1815"/>
                </a:lnTo>
                <a:lnTo>
                  <a:pt x="1406" y="1815"/>
                </a:lnTo>
                <a:lnTo>
                  <a:pt x="1398" y="1814"/>
                </a:lnTo>
                <a:lnTo>
                  <a:pt x="1392" y="1812"/>
                </a:lnTo>
                <a:lnTo>
                  <a:pt x="1384" y="1807"/>
                </a:lnTo>
                <a:lnTo>
                  <a:pt x="1378" y="1802"/>
                </a:lnTo>
                <a:lnTo>
                  <a:pt x="1373" y="1793"/>
                </a:lnTo>
                <a:lnTo>
                  <a:pt x="1369" y="1781"/>
                </a:lnTo>
                <a:lnTo>
                  <a:pt x="1365" y="1765"/>
                </a:lnTo>
                <a:lnTo>
                  <a:pt x="1364" y="1746"/>
                </a:lnTo>
                <a:lnTo>
                  <a:pt x="1364" y="1746"/>
                </a:lnTo>
                <a:lnTo>
                  <a:pt x="1365" y="1728"/>
                </a:lnTo>
                <a:lnTo>
                  <a:pt x="1369" y="1715"/>
                </a:lnTo>
                <a:lnTo>
                  <a:pt x="1373" y="1704"/>
                </a:lnTo>
                <a:lnTo>
                  <a:pt x="1378" y="1696"/>
                </a:lnTo>
                <a:lnTo>
                  <a:pt x="1384" y="1689"/>
                </a:lnTo>
                <a:lnTo>
                  <a:pt x="1392" y="1686"/>
                </a:lnTo>
                <a:lnTo>
                  <a:pt x="1398" y="1684"/>
                </a:lnTo>
                <a:lnTo>
                  <a:pt x="1406" y="1684"/>
                </a:lnTo>
                <a:lnTo>
                  <a:pt x="1406" y="1684"/>
                </a:lnTo>
                <a:lnTo>
                  <a:pt x="1413" y="1684"/>
                </a:lnTo>
                <a:lnTo>
                  <a:pt x="1419" y="1686"/>
                </a:lnTo>
                <a:lnTo>
                  <a:pt x="1426" y="1688"/>
                </a:lnTo>
                <a:lnTo>
                  <a:pt x="1430" y="1690"/>
                </a:lnTo>
                <a:lnTo>
                  <a:pt x="1435" y="1695"/>
                </a:lnTo>
                <a:lnTo>
                  <a:pt x="1439" y="1698"/>
                </a:lnTo>
                <a:lnTo>
                  <a:pt x="1445" y="1706"/>
                </a:lnTo>
                <a:lnTo>
                  <a:pt x="1445" y="1706"/>
                </a:lnTo>
                <a:close/>
                <a:moveTo>
                  <a:pt x="1671" y="1693"/>
                </a:moveTo>
                <a:lnTo>
                  <a:pt x="1671" y="1693"/>
                </a:lnTo>
                <a:lnTo>
                  <a:pt x="1684" y="1686"/>
                </a:lnTo>
                <a:lnTo>
                  <a:pt x="1697" y="1682"/>
                </a:lnTo>
                <a:lnTo>
                  <a:pt x="1712" y="1678"/>
                </a:lnTo>
                <a:lnTo>
                  <a:pt x="1727" y="1677"/>
                </a:lnTo>
                <a:lnTo>
                  <a:pt x="1727" y="1677"/>
                </a:lnTo>
                <a:lnTo>
                  <a:pt x="1737" y="1678"/>
                </a:lnTo>
                <a:lnTo>
                  <a:pt x="1745" y="1679"/>
                </a:lnTo>
                <a:lnTo>
                  <a:pt x="1751" y="1682"/>
                </a:lnTo>
                <a:lnTo>
                  <a:pt x="1757" y="1686"/>
                </a:lnTo>
                <a:lnTo>
                  <a:pt x="1761" y="1690"/>
                </a:lnTo>
                <a:lnTo>
                  <a:pt x="1765" y="1696"/>
                </a:lnTo>
                <a:lnTo>
                  <a:pt x="1767" y="1701"/>
                </a:lnTo>
                <a:lnTo>
                  <a:pt x="1767" y="1709"/>
                </a:lnTo>
                <a:lnTo>
                  <a:pt x="1767" y="1725"/>
                </a:lnTo>
                <a:lnTo>
                  <a:pt x="1767" y="1725"/>
                </a:lnTo>
                <a:lnTo>
                  <a:pt x="1757" y="1720"/>
                </a:lnTo>
                <a:lnTo>
                  <a:pt x="1745" y="1717"/>
                </a:lnTo>
                <a:lnTo>
                  <a:pt x="1733" y="1715"/>
                </a:lnTo>
                <a:lnTo>
                  <a:pt x="1719" y="1714"/>
                </a:lnTo>
                <a:lnTo>
                  <a:pt x="1719" y="1714"/>
                </a:lnTo>
                <a:lnTo>
                  <a:pt x="1704" y="1715"/>
                </a:lnTo>
                <a:lnTo>
                  <a:pt x="1689" y="1718"/>
                </a:lnTo>
                <a:lnTo>
                  <a:pt x="1674" y="1722"/>
                </a:lnTo>
                <a:lnTo>
                  <a:pt x="1667" y="1726"/>
                </a:lnTo>
                <a:lnTo>
                  <a:pt x="1660" y="1730"/>
                </a:lnTo>
                <a:lnTo>
                  <a:pt x="1654" y="1734"/>
                </a:lnTo>
                <a:lnTo>
                  <a:pt x="1649" y="1740"/>
                </a:lnTo>
                <a:lnTo>
                  <a:pt x="1643" y="1746"/>
                </a:lnTo>
                <a:lnTo>
                  <a:pt x="1639" y="1752"/>
                </a:lnTo>
                <a:lnTo>
                  <a:pt x="1636" y="1760"/>
                </a:lnTo>
                <a:lnTo>
                  <a:pt x="1633" y="1769"/>
                </a:lnTo>
                <a:lnTo>
                  <a:pt x="1632" y="1778"/>
                </a:lnTo>
                <a:lnTo>
                  <a:pt x="1631" y="1786"/>
                </a:lnTo>
                <a:lnTo>
                  <a:pt x="1631" y="1786"/>
                </a:lnTo>
                <a:lnTo>
                  <a:pt x="1632" y="1797"/>
                </a:lnTo>
                <a:lnTo>
                  <a:pt x="1633" y="1807"/>
                </a:lnTo>
                <a:lnTo>
                  <a:pt x="1636" y="1815"/>
                </a:lnTo>
                <a:lnTo>
                  <a:pt x="1639" y="1824"/>
                </a:lnTo>
                <a:lnTo>
                  <a:pt x="1642" y="1830"/>
                </a:lnTo>
                <a:lnTo>
                  <a:pt x="1648" y="1837"/>
                </a:lnTo>
                <a:lnTo>
                  <a:pt x="1652" y="1843"/>
                </a:lnTo>
                <a:lnTo>
                  <a:pt x="1659" y="1848"/>
                </a:lnTo>
                <a:lnTo>
                  <a:pt x="1664" y="1853"/>
                </a:lnTo>
                <a:lnTo>
                  <a:pt x="1671" y="1856"/>
                </a:lnTo>
                <a:lnTo>
                  <a:pt x="1685" y="1861"/>
                </a:lnTo>
                <a:lnTo>
                  <a:pt x="1700" y="1865"/>
                </a:lnTo>
                <a:lnTo>
                  <a:pt x="1714" y="1866"/>
                </a:lnTo>
                <a:lnTo>
                  <a:pt x="1714" y="1866"/>
                </a:lnTo>
                <a:lnTo>
                  <a:pt x="1726" y="1864"/>
                </a:lnTo>
                <a:lnTo>
                  <a:pt x="1734" y="1862"/>
                </a:lnTo>
                <a:lnTo>
                  <a:pt x="1740" y="1860"/>
                </a:lnTo>
                <a:lnTo>
                  <a:pt x="1748" y="1857"/>
                </a:lnTo>
                <a:lnTo>
                  <a:pt x="1755" y="1853"/>
                </a:lnTo>
                <a:lnTo>
                  <a:pt x="1761" y="1848"/>
                </a:lnTo>
                <a:lnTo>
                  <a:pt x="1767" y="1843"/>
                </a:lnTo>
                <a:lnTo>
                  <a:pt x="1767" y="1860"/>
                </a:lnTo>
                <a:lnTo>
                  <a:pt x="1822" y="1860"/>
                </a:lnTo>
                <a:lnTo>
                  <a:pt x="1822" y="1710"/>
                </a:lnTo>
                <a:lnTo>
                  <a:pt x="1822" y="1710"/>
                </a:lnTo>
                <a:lnTo>
                  <a:pt x="1822" y="1701"/>
                </a:lnTo>
                <a:lnTo>
                  <a:pt x="1821" y="1694"/>
                </a:lnTo>
                <a:lnTo>
                  <a:pt x="1819" y="1686"/>
                </a:lnTo>
                <a:lnTo>
                  <a:pt x="1817" y="1678"/>
                </a:lnTo>
                <a:lnTo>
                  <a:pt x="1812" y="1672"/>
                </a:lnTo>
                <a:lnTo>
                  <a:pt x="1809" y="1665"/>
                </a:lnTo>
                <a:lnTo>
                  <a:pt x="1803" y="1659"/>
                </a:lnTo>
                <a:lnTo>
                  <a:pt x="1798" y="1654"/>
                </a:lnTo>
                <a:lnTo>
                  <a:pt x="1792" y="1650"/>
                </a:lnTo>
                <a:lnTo>
                  <a:pt x="1786" y="1645"/>
                </a:lnTo>
                <a:lnTo>
                  <a:pt x="1778" y="1642"/>
                </a:lnTo>
                <a:lnTo>
                  <a:pt x="1770" y="1639"/>
                </a:lnTo>
                <a:lnTo>
                  <a:pt x="1761" y="1636"/>
                </a:lnTo>
                <a:lnTo>
                  <a:pt x="1753" y="1635"/>
                </a:lnTo>
                <a:lnTo>
                  <a:pt x="1743" y="1634"/>
                </a:lnTo>
                <a:lnTo>
                  <a:pt x="1733" y="1633"/>
                </a:lnTo>
                <a:lnTo>
                  <a:pt x="1733" y="1633"/>
                </a:lnTo>
                <a:lnTo>
                  <a:pt x="1721" y="1634"/>
                </a:lnTo>
                <a:lnTo>
                  <a:pt x="1711" y="1634"/>
                </a:lnTo>
                <a:lnTo>
                  <a:pt x="1700" y="1636"/>
                </a:lnTo>
                <a:lnTo>
                  <a:pt x="1689" y="1639"/>
                </a:lnTo>
                <a:lnTo>
                  <a:pt x="1679" y="1642"/>
                </a:lnTo>
                <a:lnTo>
                  <a:pt x="1669" y="1645"/>
                </a:lnTo>
                <a:lnTo>
                  <a:pt x="1659" y="1650"/>
                </a:lnTo>
                <a:lnTo>
                  <a:pt x="1649" y="1655"/>
                </a:lnTo>
                <a:lnTo>
                  <a:pt x="1671" y="1693"/>
                </a:lnTo>
                <a:close/>
                <a:moveTo>
                  <a:pt x="1686" y="1786"/>
                </a:moveTo>
                <a:lnTo>
                  <a:pt x="1686" y="1786"/>
                </a:lnTo>
                <a:lnTo>
                  <a:pt x="1686" y="1780"/>
                </a:lnTo>
                <a:lnTo>
                  <a:pt x="1689" y="1773"/>
                </a:lnTo>
                <a:lnTo>
                  <a:pt x="1692" y="1768"/>
                </a:lnTo>
                <a:lnTo>
                  <a:pt x="1696" y="1763"/>
                </a:lnTo>
                <a:lnTo>
                  <a:pt x="1702" y="1760"/>
                </a:lnTo>
                <a:lnTo>
                  <a:pt x="1708" y="1758"/>
                </a:lnTo>
                <a:lnTo>
                  <a:pt x="1716" y="1755"/>
                </a:lnTo>
                <a:lnTo>
                  <a:pt x="1724" y="1755"/>
                </a:lnTo>
                <a:lnTo>
                  <a:pt x="1724" y="1755"/>
                </a:lnTo>
                <a:lnTo>
                  <a:pt x="1736" y="1755"/>
                </a:lnTo>
                <a:lnTo>
                  <a:pt x="1747" y="1758"/>
                </a:lnTo>
                <a:lnTo>
                  <a:pt x="1757" y="1761"/>
                </a:lnTo>
                <a:lnTo>
                  <a:pt x="1767" y="1766"/>
                </a:lnTo>
                <a:lnTo>
                  <a:pt x="1767" y="1796"/>
                </a:lnTo>
                <a:lnTo>
                  <a:pt x="1767" y="1796"/>
                </a:lnTo>
                <a:lnTo>
                  <a:pt x="1765" y="1801"/>
                </a:lnTo>
                <a:lnTo>
                  <a:pt x="1760" y="1805"/>
                </a:lnTo>
                <a:lnTo>
                  <a:pt x="1756" y="1810"/>
                </a:lnTo>
                <a:lnTo>
                  <a:pt x="1750" y="1813"/>
                </a:lnTo>
                <a:lnTo>
                  <a:pt x="1745" y="1816"/>
                </a:lnTo>
                <a:lnTo>
                  <a:pt x="1738" y="1818"/>
                </a:lnTo>
                <a:lnTo>
                  <a:pt x="1732" y="1819"/>
                </a:lnTo>
                <a:lnTo>
                  <a:pt x="1724" y="1821"/>
                </a:lnTo>
                <a:lnTo>
                  <a:pt x="1724" y="1821"/>
                </a:lnTo>
                <a:lnTo>
                  <a:pt x="1716" y="1819"/>
                </a:lnTo>
                <a:lnTo>
                  <a:pt x="1708" y="1817"/>
                </a:lnTo>
                <a:lnTo>
                  <a:pt x="1702" y="1815"/>
                </a:lnTo>
                <a:lnTo>
                  <a:pt x="1696" y="1811"/>
                </a:lnTo>
                <a:lnTo>
                  <a:pt x="1692" y="1806"/>
                </a:lnTo>
                <a:lnTo>
                  <a:pt x="1689" y="1801"/>
                </a:lnTo>
                <a:lnTo>
                  <a:pt x="1687" y="1794"/>
                </a:lnTo>
                <a:lnTo>
                  <a:pt x="1686" y="1786"/>
                </a:lnTo>
                <a:lnTo>
                  <a:pt x="1686" y="1786"/>
                </a:lnTo>
                <a:close/>
                <a:moveTo>
                  <a:pt x="2333" y="1796"/>
                </a:moveTo>
                <a:lnTo>
                  <a:pt x="2333" y="1796"/>
                </a:lnTo>
                <a:lnTo>
                  <a:pt x="2325" y="1803"/>
                </a:lnTo>
                <a:lnTo>
                  <a:pt x="2315" y="1808"/>
                </a:lnTo>
                <a:lnTo>
                  <a:pt x="2310" y="1811"/>
                </a:lnTo>
                <a:lnTo>
                  <a:pt x="2303" y="1813"/>
                </a:lnTo>
                <a:lnTo>
                  <a:pt x="2297" y="1814"/>
                </a:lnTo>
                <a:lnTo>
                  <a:pt x="2290" y="1815"/>
                </a:lnTo>
                <a:lnTo>
                  <a:pt x="2290" y="1815"/>
                </a:lnTo>
                <a:lnTo>
                  <a:pt x="2285" y="1814"/>
                </a:lnTo>
                <a:lnTo>
                  <a:pt x="2278" y="1814"/>
                </a:lnTo>
                <a:lnTo>
                  <a:pt x="2270" y="1812"/>
                </a:lnTo>
                <a:lnTo>
                  <a:pt x="2261" y="1807"/>
                </a:lnTo>
                <a:lnTo>
                  <a:pt x="2254" y="1802"/>
                </a:lnTo>
                <a:lnTo>
                  <a:pt x="2250" y="1797"/>
                </a:lnTo>
                <a:lnTo>
                  <a:pt x="2247" y="1793"/>
                </a:lnTo>
                <a:lnTo>
                  <a:pt x="2245" y="1787"/>
                </a:lnTo>
                <a:lnTo>
                  <a:pt x="2243" y="1781"/>
                </a:lnTo>
                <a:lnTo>
                  <a:pt x="2242" y="1774"/>
                </a:lnTo>
                <a:lnTo>
                  <a:pt x="2240" y="1766"/>
                </a:lnTo>
                <a:lnTo>
                  <a:pt x="2376" y="1766"/>
                </a:lnTo>
                <a:lnTo>
                  <a:pt x="2376" y="1766"/>
                </a:lnTo>
                <a:lnTo>
                  <a:pt x="2377" y="1750"/>
                </a:lnTo>
                <a:lnTo>
                  <a:pt x="2377" y="1750"/>
                </a:lnTo>
                <a:lnTo>
                  <a:pt x="2377" y="1737"/>
                </a:lnTo>
                <a:lnTo>
                  <a:pt x="2375" y="1725"/>
                </a:lnTo>
                <a:lnTo>
                  <a:pt x="2374" y="1712"/>
                </a:lnTo>
                <a:lnTo>
                  <a:pt x="2371" y="1701"/>
                </a:lnTo>
                <a:lnTo>
                  <a:pt x="2367" y="1691"/>
                </a:lnTo>
                <a:lnTo>
                  <a:pt x="2363" y="1682"/>
                </a:lnTo>
                <a:lnTo>
                  <a:pt x="2357" y="1673"/>
                </a:lnTo>
                <a:lnTo>
                  <a:pt x="2352" y="1665"/>
                </a:lnTo>
                <a:lnTo>
                  <a:pt x="2345" y="1657"/>
                </a:lnTo>
                <a:lnTo>
                  <a:pt x="2339" y="1652"/>
                </a:lnTo>
                <a:lnTo>
                  <a:pt x="2331" y="1646"/>
                </a:lnTo>
                <a:lnTo>
                  <a:pt x="2322" y="1642"/>
                </a:lnTo>
                <a:lnTo>
                  <a:pt x="2313" y="1639"/>
                </a:lnTo>
                <a:lnTo>
                  <a:pt x="2304" y="1635"/>
                </a:lnTo>
                <a:lnTo>
                  <a:pt x="2294" y="1634"/>
                </a:lnTo>
                <a:lnTo>
                  <a:pt x="2283" y="1633"/>
                </a:lnTo>
                <a:lnTo>
                  <a:pt x="2283" y="1633"/>
                </a:lnTo>
                <a:lnTo>
                  <a:pt x="2274" y="1634"/>
                </a:lnTo>
                <a:lnTo>
                  <a:pt x="2264" y="1635"/>
                </a:lnTo>
                <a:lnTo>
                  <a:pt x="2254" y="1639"/>
                </a:lnTo>
                <a:lnTo>
                  <a:pt x="2244" y="1642"/>
                </a:lnTo>
                <a:lnTo>
                  <a:pt x="2235" y="1646"/>
                </a:lnTo>
                <a:lnTo>
                  <a:pt x="2227" y="1653"/>
                </a:lnTo>
                <a:lnTo>
                  <a:pt x="2219" y="1658"/>
                </a:lnTo>
                <a:lnTo>
                  <a:pt x="2213" y="1666"/>
                </a:lnTo>
                <a:lnTo>
                  <a:pt x="2206" y="1674"/>
                </a:lnTo>
                <a:lnTo>
                  <a:pt x="2201" y="1683"/>
                </a:lnTo>
                <a:lnTo>
                  <a:pt x="2196" y="1693"/>
                </a:lnTo>
                <a:lnTo>
                  <a:pt x="2192" y="1703"/>
                </a:lnTo>
                <a:lnTo>
                  <a:pt x="2189" y="1714"/>
                </a:lnTo>
                <a:lnTo>
                  <a:pt x="2186" y="1726"/>
                </a:lnTo>
                <a:lnTo>
                  <a:pt x="2185" y="1737"/>
                </a:lnTo>
                <a:lnTo>
                  <a:pt x="2184" y="1750"/>
                </a:lnTo>
                <a:lnTo>
                  <a:pt x="2184" y="1750"/>
                </a:lnTo>
                <a:lnTo>
                  <a:pt x="2185" y="1762"/>
                </a:lnTo>
                <a:lnTo>
                  <a:pt x="2186" y="1774"/>
                </a:lnTo>
                <a:lnTo>
                  <a:pt x="2189" y="1786"/>
                </a:lnTo>
                <a:lnTo>
                  <a:pt x="2192" y="1797"/>
                </a:lnTo>
                <a:lnTo>
                  <a:pt x="2196" y="1807"/>
                </a:lnTo>
                <a:lnTo>
                  <a:pt x="2201" y="1817"/>
                </a:lnTo>
                <a:lnTo>
                  <a:pt x="2206" y="1826"/>
                </a:lnTo>
                <a:lnTo>
                  <a:pt x="2213" y="1834"/>
                </a:lnTo>
                <a:lnTo>
                  <a:pt x="2221" y="1840"/>
                </a:lnTo>
                <a:lnTo>
                  <a:pt x="2228" y="1847"/>
                </a:lnTo>
                <a:lnTo>
                  <a:pt x="2237" y="1853"/>
                </a:lnTo>
                <a:lnTo>
                  <a:pt x="2246" y="1857"/>
                </a:lnTo>
                <a:lnTo>
                  <a:pt x="2256" y="1860"/>
                </a:lnTo>
                <a:lnTo>
                  <a:pt x="2267" y="1864"/>
                </a:lnTo>
                <a:lnTo>
                  <a:pt x="2278" y="1865"/>
                </a:lnTo>
                <a:lnTo>
                  <a:pt x="2290" y="1866"/>
                </a:lnTo>
                <a:lnTo>
                  <a:pt x="2290" y="1866"/>
                </a:lnTo>
                <a:lnTo>
                  <a:pt x="2301" y="1865"/>
                </a:lnTo>
                <a:lnTo>
                  <a:pt x="2311" y="1864"/>
                </a:lnTo>
                <a:lnTo>
                  <a:pt x="2322" y="1860"/>
                </a:lnTo>
                <a:lnTo>
                  <a:pt x="2332" y="1857"/>
                </a:lnTo>
                <a:lnTo>
                  <a:pt x="2342" y="1851"/>
                </a:lnTo>
                <a:lnTo>
                  <a:pt x="2351" y="1846"/>
                </a:lnTo>
                <a:lnTo>
                  <a:pt x="2360" y="1838"/>
                </a:lnTo>
                <a:lnTo>
                  <a:pt x="2368" y="1830"/>
                </a:lnTo>
                <a:lnTo>
                  <a:pt x="2333" y="1796"/>
                </a:lnTo>
                <a:close/>
                <a:moveTo>
                  <a:pt x="2242" y="1726"/>
                </a:moveTo>
                <a:lnTo>
                  <a:pt x="2242" y="1726"/>
                </a:lnTo>
                <a:lnTo>
                  <a:pt x="2243" y="1716"/>
                </a:lnTo>
                <a:lnTo>
                  <a:pt x="2245" y="1707"/>
                </a:lnTo>
                <a:lnTo>
                  <a:pt x="2248" y="1699"/>
                </a:lnTo>
                <a:lnTo>
                  <a:pt x="2254" y="1693"/>
                </a:lnTo>
                <a:lnTo>
                  <a:pt x="2259" y="1687"/>
                </a:lnTo>
                <a:lnTo>
                  <a:pt x="2266" y="1684"/>
                </a:lnTo>
                <a:lnTo>
                  <a:pt x="2274" y="1680"/>
                </a:lnTo>
                <a:lnTo>
                  <a:pt x="2282" y="1680"/>
                </a:lnTo>
                <a:lnTo>
                  <a:pt x="2282" y="1680"/>
                </a:lnTo>
                <a:lnTo>
                  <a:pt x="2292" y="1682"/>
                </a:lnTo>
                <a:lnTo>
                  <a:pt x="2301" y="1684"/>
                </a:lnTo>
                <a:lnTo>
                  <a:pt x="2308" y="1688"/>
                </a:lnTo>
                <a:lnTo>
                  <a:pt x="2313" y="1695"/>
                </a:lnTo>
                <a:lnTo>
                  <a:pt x="2318" y="1701"/>
                </a:lnTo>
                <a:lnTo>
                  <a:pt x="2321" y="1709"/>
                </a:lnTo>
                <a:lnTo>
                  <a:pt x="2323" y="1718"/>
                </a:lnTo>
                <a:lnTo>
                  <a:pt x="2324" y="1726"/>
                </a:lnTo>
                <a:lnTo>
                  <a:pt x="2242" y="1726"/>
                </a:lnTo>
                <a:close/>
                <a:moveTo>
                  <a:pt x="2864" y="1796"/>
                </a:moveTo>
                <a:lnTo>
                  <a:pt x="2864" y="1796"/>
                </a:lnTo>
                <a:lnTo>
                  <a:pt x="2855" y="1803"/>
                </a:lnTo>
                <a:lnTo>
                  <a:pt x="2846" y="1808"/>
                </a:lnTo>
                <a:lnTo>
                  <a:pt x="2840" y="1811"/>
                </a:lnTo>
                <a:lnTo>
                  <a:pt x="2834" y="1813"/>
                </a:lnTo>
                <a:lnTo>
                  <a:pt x="2828" y="1814"/>
                </a:lnTo>
                <a:lnTo>
                  <a:pt x="2820" y="1815"/>
                </a:lnTo>
                <a:lnTo>
                  <a:pt x="2820" y="1815"/>
                </a:lnTo>
                <a:lnTo>
                  <a:pt x="2814" y="1814"/>
                </a:lnTo>
                <a:lnTo>
                  <a:pt x="2808" y="1814"/>
                </a:lnTo>
                <a:lnTo>
                  <a:pt x="2800" y="1812"/>
                </a:lnTo>
                <a:lnTo>
                  <a:pt x="2792" y="1807"/>
                </a:lnTo>
                <a:lnTo>
                  <a:pt x="2784" y="1802"/>
                </a:lnTo>
                <a:lnTo>
                  <a:pt x="2781" y="1797"/>
                </a:lnTo>
                <a:lnTo>
                  <a:pt x="2778" y="1793"/>
                </a:lnTo>
                <a:lnTo>
                  <a:pt x="2776" y="1787"/>
                </a:lnTo>
                <a:lnTo>
                  <a:pt x="2773" y="1781"/>
                </a:lnTo>
                <a:lnTo>
                  <a:pt x="2771" y="1774"/>
                </a:lnTo>
                <a:lnTo>
                  <a:pt x="2770" y="1766"/>
                </a:lnTo>
                <a:lnTo>
                  <a:pt x="2907" y="1766"/>
                </a:lnTo>
                <a:lnTo>
                  <a:pt x="2907" y="1766"/>
                </a:lnTo>
                <a:lnTo>
                  <a:pt x="2908" y="1750"/>
                </a:lnTo>
                <a:lnTo>
                  <a:pt x="2908" y="1750"/>
                </a:lnTo>
                <a:lnTo>
                  <a:pt x="2907" y="1737"/>
                </a:lnTo>
                <a:lnTo>
                  <a:pt x="2906" y="1725"/>
                </a:lnTo>
                <a:lnTo>
                  <a:pt x="2904" y="1712"/>
                </a:lnTo>
                <a:lnTo>
                  <a:pt x="2901" y="1701"/>
                </a:lnTo>
                <a:lnTo>
                  <a:pt x="2897" y="1691"/>
                </a:lnTo>
                <a:lnTo>
                  <a:pt x="2893" y="1682"/>
                </a:lnTo>
                <a:lnTo>
                  <a:pt x="2888" y="1673"/>
                </a:lnTo>
                <a:lnTo>
                  <a:pt x="2883" y="1665"/>
                </a:lnTo>
                <a:lnTo>
                  <a:pt x="2876" y="1657"/>
                </a:lnTo>
                <a:lnTo>
                  <a:pt x="2868" y="1652"/>
                </a:lnTo>
                <a:lnTo>
                  <a:pt x="2861" y="1646"/>
                </a:lnTo>
                <a:lnTo>
                  <a:pt x="2853" y="1642"/>
                </a:lnTo>
                <a:lnTo>
                  <a:pt x="2844" y="1639"/>
                </a:lnTo>
                <a:lnTo>
                  <a:pt x="2834" y="1635"/>
                </a:lnTo>
                <a:lnTo>
                  <a:pt x="2824" y="1634"/>
                </a:lnTo>
                <a:lnTo>
                  <a:pt x="2814" y="1633"/>
                </a:lnTo>
                <a:lnTo>
                  <a:pt x="2814" y="1633"/>
                </a:lnTo>
                <a:lnTo>
                  <a:pt x="2803" y="1634"/>
                </a:lnTo>
                <a:lnTo>
                  <a:pt x="2793" y="1635"/>
                </a:lnTo>
                <a:lnTo>
                  <a:pt x="2783" y="1639"/>
                </a:lnTo>
                <a:lnTo>
                  <a:pt x="2775" y="1642"/>
                </a:lnTo>
                <a:lnTo>
                  <a:pt x="2766" y="1646"/>
                </a:lnTo>
                <a:lnTo>
                  <a:pt x="2757" y="1653"/>
                </a:lnTo>
                <a:lnTo>
                  <a:pt x="2750" y="1658"/>
                </a:lnTo>
                <a:lnTo>
                  <a:pt x="2743" y="1666"/>
                </a:lnTo>
                <a:lnTo>
                  <a:pt x="2736" y="1674"/>
                </a:lnTo>
                <a:lnTo>
                  <a:pt x="2730" y="1683"/>
                </a:lnTo>
                <a:lnTo>
                  <a:pt x="2726" y="1693"/>
                </a:lnTo>
                <a:lnTo>
                  <a:pt x="2722" y="1703"/>
                </a:lnTo>
                <a:lnTo>
                  <a:pt x="2719" y="1714"/>
                </a:lnTo>
                <a:lnTo>
                  <a:pt x="2716" y="1726"/>
                </a:lnTo>
                <a:lnTo>
                  <a:pt x="2715" y="1737"/>
                </a:lnTo>
                <a:lnTo>
                  <a:pt x="2715" y="1750"/>
                </a:lnTo>
                <a:lnTo>
                  <a:pt x="2715" y="1750"/>
                </a:lnTo>
                <a:lnTo>
                  <a:pt x="2715" y="1762"/>
                </a:lnTo>
                <a:lnTo>
                  <a:pt x="2716" y="1774"/>
                </a:lnTo>
                <a:lnTo>
                  <a:pt x="2718" y="1786"/>
                </a:lnTo>
                <a:lnTo>
                  <a:pt x="2722" y="1797"/>
                </a:lnTo>
                <a:lnTo>
                  <a:pt x="2726" y="1807"/>
                </a:lnTo>
                <a:lnTo>
                  <a:pt x="2732" y="1817"/>
                </a:lnTo>
                <a:lnTo>
                  <a:pt x="2737" y="1826"/>
                </a:lnTo>
                <a:lnTo>
                  <a:pt x="2744" y="1834"/>
                </a:lnTo>
                <a:lnTo>
                  <a:pt x="2750" y="1840"/>
                </a:lnTo>
                <a:lnTo>
                  <a:pt x="2758" y="1847"/>
                </a:lnTo>
                <a:lnTo>
                  <a:pt x="2767" y="1853"/>
                </a:lnTo>
                <a:lnTo>
                  <a:pt x="2777" y="1857"/>
                </a:lnTo>
                <a:lnTo>
                  <a:pt x="2787" y="1860"/>
                </a:lnTo>
                <a:lnTo>
                  <a:pt x="2797" y="1864"/>
                </a:lnTo>
                <a:lnTo>
                  <a:pt x="2809" y="1865"/>
                </a:lnTo>
                <a:lnTo>
                  <a:pt x="2820" y="1866"/>
                </a:lnTo>
                <a:lnTo>
                  <a:pt x="2820" y="1866"/>
                </a:lnTo>
                <a:lnTo>
                  <a:pt x="2831" y="1865"/>
                </a:lnTo>
                <a:lnTo>
                  <a:pt x="2842" y="1864"/>
                </a:lnTo>
                <a:lnTo>
                  <a:pt x="2852" y="1860"/>
                </a:lnTo>
                <a:lnTo>
                  <a:pt x="2862" y="1857"/>
                </a:lnTo>
                <a:lnTo>
                  <a:pt x="2872" y="1851"/>
                </a:lnTo>
                <a:lnTo>
                  <a:pt x="2882" y="1846"/>
                </a:lnTo>
                <a:lnTo>
                  <a:pt x="2890" y="1838"/>
                </a:lnTo>
                <a:lnTo>
                  <a:pt x="2898" y="1830"/>
                </a:lnTo>
                <a:lnTo>
                  <a:pt x="2864" y="1796"/>
                </a:lnTo>
                <a:close/>
                <a:moveTo>
                  <a:pt x="2771" y="1726"/>
                </a:moveTo>
                <a:lnTo>
                  <a:pt x="2771" y="1726"/>
                </a:lnTo>
                <a:lnTo>
                  <a:pt x="2772" y="1716"/>
                </a:lnTo>
                <a:lnTo>
                  <a:pt x="2776" y="1707"/>
                </a:lnTo>
                <a:lnTo>
                  <a:pt x="2779" y="1699"/>
                </a:lnTo>
                <a:lnTo>
                  <a:pt x="2783" y="1693"/>
                </a:lnTo>
                <a:lnTo>
                  <a:pt x="2790" y="1687"/>
                </a:lnTo>
                <a:lnTo>
                  <a:pt x="2797" y="1684"/>
                </a:lnTo>
                <a:lnTo>
                  <a:pt x="2804" y="1680"/>
                </a:lnTo>
                <a:lnTo>
                  <a:pt x="2813" y="1680"/>
                </a:lnTo>
                <a:lnTo>
                  <a:pt x="2813" y="1680"/>
                </a:lnTo>
                <a:lnTo>
                  <a:pt x="2823" y="1682"/>
                </a:lnTo>
                <a:lnTo>
                  <a:pt x="2831" y="1684"/>
                </a:lnTo>
                <a:lnTo>
                  <a:pt x="2839" y="1688"/>
                </a:lnTo>
                <a:lnTo>
                  <a:pt x="2844" y="1695"/>
                </a:lnTo>
                <a:lnTo>
                  <a:pt x="2849" y="1701"/>
                </a:lnTo>
                <a:lnTo>
                  <a:pt x="2852" y="1709"/>
                </a:lnTo>
                <a:lnTo>
                  <a:pt x="2854" y="1718"/>
                </a:lnTo>
                <a:lnTo>
                  <a:pt x="2855" y="1726"/>
                </a:lnTo>
                <a:lnTo>
                  <a:pt x="2771" y="1726"/>
                </a:lnTo>
                <a:close/>
                <a:moveTo>
                  <a:pt x="2639" y="1783"/>
                </a:moveTo>
                <a:lnTo>
                  <a:pt x="2639" y="1783"/>
                </a:lnTo>
                <a:lnTo>
                  <a:pt x="2639" y="1791"/>
                </a:lnTo>
                <a:lnTo>
                  <a:pt x="2640" y="1796"/>
                </a:lnTo>
                <a:lnTo>
                  <a:pt x="2642" y="1802"/>
                </a:lnTo>
                <a:lnTo>
                  <a:pt x="2644" y="1806"/>
                </a:lnTo>
                <a:lnTo>
                  <a:pt x="2648" y="1810"/>
                </a:lnTo>
                <a:lnTo>
                  <a:pt x="2652" y="1812"/>
                </a:lnTo>
                <a:lnTo>
                  <a:pt x="2656" y="1813"/>
                </a:lnTo>
                <a:lnTo>
                  <a:pt x="2663" y="1813"/>
                </a:lnTo>
                <a:lnTo>
                  <a:pt x="2663" y="1813"/>
                </a:lnTo>
                <a:lnTo>
                  <a:pt x="2671" y="1813"/>
                </a:lnTo>
                <a:lnTo>
                  <a:pt x="2680" y="1811"/>
                </a:lnTo>
                <a:lnTo>
                  <a:pt x="2688" y="1807"/>
                </a:lnTo>
                <a:lnTo>
                  <a:pt x="2696" y="1803"/>
                </a:lnTo>
                <a:lnTo>
                  <a:pt x="2690" y="1855"/>
                </a:lnTo>
                <a:lnTo>
                  <a:pt x="2690" y="1855"/>
                </a:lnTo>
                <a:lnTo>
                  <a:pt x="2680" y="1859"/>
                </a:lnTo>
                <a:lnTo>
                  <a:pt x="2668" y="1862"/>
                </a:lnTo>
                <a:lnTo>
                  <a:pt x="2655" y="1865"/>
                </a:lnTo>
                <a:lnTo>
                  <a:pt x="2643" y="1866"/>
                </a:lnTo>
                <a:lnTo>
                  <a:pt x="2643" y="1866"/>
                </a:lnTo>
                <a:lnTo>
                  <a:pt x="2636" y="1865"/>
                </a:lnTo>
                <a:lnTo>
                  <a:pt x="2628" y="1864"/>
                </a:lnTo>
                <a:lnTo>
                  <a:pt x="2621" y="1861"/>
                </a:lnTo>
                <a:lnTo>
                  <a:pt x="2616" y="1859"/>
                </a:lnTo>
                <a:lnTo>
                  <a:pt x="2610" y="1856"/>
                </a:lnTo>
                <a:lnTo>
                  <a:pt x="2605" y="1853"/>
                </a:lnTo>
                <a:lnTo>
                  <a:pt x="2601" y="1848"/>
                </a:lnTo>
                <a:lnTo>
                  <a:pt x="2597" y="1843"/>
                </a:lnTo>
                <a:lnTo>
                  <a:pt x="2591" y="1833"/>
                </a:lnTo>
                <a:lnTo>
                  <a:pt x="2587" y="1821"/>
                </a:lnTo>
                <a:lnTo>
                  <a:pt x="2585" y="1810"/>
                </a:lnTo>
                <a:lnTo>
                  <a:pt x="2584" y="1797"/>
                </a:lnTo>
                <a:lnTo>
                  <a:pt x="2584" y="1689"/>
                </a:lnTo>
                <a:lnTo>
                  <a:pt x="2549" y="1689"/>
                </a:lnTo>
                <a:lnTo>
                  <a:pt x="2549" y="1639"/>
                </a:lnTo>
                <a:lnTo>
                  <a:pt x="2584" y="1639"/>
                </a:lnTo>
                <a:lnTo>
                  <a:pt x="2584" y="1581"/>
                </a:lnTo>
                <a:lnTo>
                  <a:pt x="2639" y="1554"/>
                </a:lnTo>
                <a:lnTo>
                  <a:pt x="2639" y="1639"/>
                </a:lnTo>
                <a:lnTo>
                  <a:pt x="2688" y="1639"/>
                </a:lnTo>
                <a:lnTo>
                  <a:pt x="2688" y="1689"/>
                </a:lnTo>
                <a:lnTo>
                  <a:pt x="2639" y="1689"/>
                </a:lnTo>
                <a:lnTo>
                  <a:pt x="2639" y="1783"/>
                </a:lnTo>
                <a:close/>
                <a:moveTo>
                  <a:pt x="2532" y="1855"/>
                </a:moveTo>
                <a:lnTo>
                  <a:pt x="2532" y="1855"/>
                </a:lnTo>
                <a:lnTo>
                  <a:pt x="2522" y="1859"/>
                </a:lnTo>
                <a:lnTo>
                  <a:pt x="2511" y="1862"/>
                </a:lnTo>
                <a:lnTo>
                  <a:pt x="2499" y="1865"/>
                </a:lnTo>
                <a:lnTo>
                  <a:pt x="2487" y="1866"/>
                </a:lnTo>
                <a:lnTo>
                  <a:pt x="2487" y="1866"/>
                </a:lnTo>
                <a:lnTo>
                  <a:pt x="2478" y="1865"/>
                </a:lnTo>
                <a:lnTo>
                  <a:pt x="2471" y="1864"/>
                </a:lnTo>
                <a:lnTo>
                  <a:pt x="2464" y="1861"/>
                </a:lnTo>
                <a:lnTo>
                  <a:pt x="2458" y="1859"/>
                </a:lnTo>
                <a:lnTo>
                  <a:pt x="2453" y="1856"/>
                </a:lnTo>
                <a:lnTo>
                  <a:pt x="2448" y="1853"/>
                </a:lnTo>
                <a:lnTo>
                  <a:pt x="2443" y="1848"/>
                </a:lnTo>
                <a:lnTo>
                  <a:pt x="2440" y="1843"/>
                </a:lnTo>
                <a:lnTo>
                  <a:pt x="2434" y="1833"/>
                </a:lnTo>
                <a:lnTo>
                  <a:pt x="2430" y="1821"/>
                </a:lnTo>
                <a:lnTo>
                  <a:pt x="2427" y="1810"/>
                </a:lnTo>
                <a:lnTo>
                  <a:pt x="2427" y="1797"/>
                </a:lnTo>
                <a:lnTo>
                  <a:pt x="2427" y="1689"/>
                </a:lnTo>
                <a:lnTo>
                  <a:pt x="2393" y="1689"/>
                </a:lnTo>
                <a:lnTo>
                  <a:pt x="2393" y="1639"/>
                </a:lnTo>
                <a:lnTo>
                  <a:pt x="2427" y="1639"/>
                </a:lnTo>
                <a:lnTo>
                  <a:pt x="2427" y="1581"/>
                </a:lnTo>
                <a:lnTo>
                  <a:pt x="2482" y="1554"/>
                </a:lnTo>
                <a:lnTo>
                  <a:pt x="2482" y="1639"/>
                </a:lnTo>
                <a:lnTo>
                  <a:pt x="2528" y="1639"/>
                </a:lnTo>
                <a:lnTo>
                  <a:pt x="2528" y="1689"/>
                </a:lnTo>
                <a:lnTo>
                  <a:pt x="2482" y="1689"/>
                </a:lnTo>
                <a:lnTo>
                  <a:pt x="2482" y="1783"/>
                </a:lnTo>
                <a:lnTo>
                  <a:pt x="2482" y="1783"/>
                </a:lnTo>
                <a:lnTo>
                  <a:pt x="2482" y="1791"/>
                </a:lnTo>
                <a:lnTo>
                  <a:pt x="2483" y="1796"/>
                </a:lnTo>
                <a:lnTo>
                  <a:pt x="2485" y="1802"/>
                </a:lnTo>
                <a:lnTo>
                  <a:pt x="2488" y="1806"/>
                </a:lnTo>
                <a:lnTo>
                  <a:pt x="2491" y="1810"/>
                </a:lnTo>
                <a:lnTo>
                  <a:pt x="2495" y="1812"/>
                </a:lnTo>
                <a:lnTo>
                  <a:pt x="2500" y="1813"/>
                </a:lnTo>
                <a:lnTo>
                  <a:pt x="2505" y="1813"/>
                </a:lnTo>
                <a:lnTo>
                  <a:pt x="2505" y="1813"/>
                </a:lnTo>
                <a:lnTo>
                  <a:pt x="2514" y="1813"/>
                </a:lnTo>
                <a:lnTo>
                  <a:pt x="2523" y="1811"/>
                </a:lnTo>
                <a:lnTo>
                  <a:pt x="2531" y="1807"/>
                </a:lnTo>
                <a:lnTo>
                  <a:pt x="2538" y="1803"/>
                </a:lnTo>
                <a:lnTo>
                  <a:pt x="2532" y="1855"/>
                </a:lnTo>
                <a:close/>
                <a:moveTo>
                  <a:pt x="3074" y="1700"/>
                </a:moveTo>
                <a:lnTo>
                  <a:pt x="3074" y="1700"/>
                </a:lnTo>
                <a:lnTo>
                  <a:pt x="3066" y="1695"/>
                </a:lnTo>
                <a:lnTo>
                  <a:pt x="3057" y="1691"/>
                </a:lnTo>
                <a:lnTo>
                  <a:pt x="3047" y="1689"/>
                </a:lnTo>
                <a:lnTo>
                  <a:pt x="3037" y="1688"/>
                </a:lnTo>
                <a:lnTo>
                  <a:pt x="3037" y="1688"/>
                </a:lnTo>
                <a:lnTo>
                  <a:pt x="3028" y="1689"/>
                </a:lnTo>
                <a:lnTo>
                  <a:pt x="3020" y="1691"/>
                </a:lnTo>
                <a:lnTo>
                  <a:pt x="3013" y="1696"/>
                </a:lnTo>
                <a:lnTo>
                  <a:pt x="3007" y="1701"/>
                </a:lnTo>
                <a:lnTo>
                  <a:pt x="3003" y="1708"/>
                </a:lnTo>
                <a:lnTo>
                  <a:pt x="3001" y="1717"/>
                </a:lnTo>
                <a:lnTo>
                  <a:pt x="2999" y="1728"/>
                </a:lnTo>
                <a:lnTo>
                  <a:pt x="2998" y="1740"/>
                </a:lnTo>
                <a:lnTo>
                  <a:pt x="2998" y="1860"/>
                </a:lnTo>
                <a:lnTo>
                  <a:pt x="2943" y="1860"/>
                </a:lnTo>
                <a:lnTo>
                  <a:pt x="2943" y="1639"/>
                </a:lnTo>
                <a:lnTo>
                  <a:pt x="2998" y="1639"/>
                </a:lnTo>
                <a:lnTo>
                  <a:pt x="2998" y="1657"/>
                </a:lnTo>
                <a:lnTo>
                  <a:pt x="2998" y="1657"/>
                </a:lnTo>
                <a:lnTo>
                  <a:pt x="3003" y="1652"/>
                </a:lnTo>
                <a:lnTo>
                  <a:pt x="3009" y="1646"/>
                </a:lnTo>
                <a:lnTo>
                  <a:pt x="3014" y="1643"/>
                </a:lnTo>
                <a:lnTo>
                  <a:pt x="3021" y="1640"/>
                </a:lnTo>
                <a:lnTo>
                  <a:pt x="3026" y="1636"/>
                </a:lnTo>
                <a:lnTo>
                  <a:pt x="3033" y="1635"/>
                </a:lnTo>
                <a:lnTo>
                  <a:pt x="3039" y="1634"/>
                </a:lnTo>
                <a:lnTo>
                  <a:pt x="3047" y="1633"/>
                </a:lnTo>
                <a:lnTo>
                  <a:pt x="3047" y="1633"/>
                </a:lnTo>
                <a:lnTo>
                  <a:pt x="3058" y="1634"/>
                </a:lnTo>
                <a:lnTo>
                  <a:pt x="3069" y="1637"/>
                </a:lnTo>
                <a:lnTo>
                  <a:pt x="3079" y="1641"/>
                </a:lnTo>
                <a:lnTo>
                  <a:pt x="3088" y="1646"/>
                </a:lnTo>
                <a:lnTo>
                  <a:pt x="3074" y="1700"/>
                </a:lnTo>
                <a:close/>
                <a:moveTo>
                  <a:pt x="593" y="1579"/>
                </a:moveTo>
                <a:lnTo>
                  <a:pt x="593" y="1607"/>
                </a:lnTo>
                <a:lnTo>
                  <a:pt x="537" y="1607"/>
                </a:lnTo>
                <a:lnTo>
                  <a:pt x="537" y="1551"/>
                </a:lnTo>
                <a:lnTo>
                  <a:pt x="593" y="1551"/>
                </a:lnTo>
                <a:lnTo>
                  <a:pt x="593" y="1579"/>
                </a:lnTo>
                <a:close/>
                <a:moveTo>
                  <a:pt x="975" y="1639"/>
                </a:moveTo>
                <a:lnTo>
                  <a:pt x="1030" y="1639"/>
                </a:lnTo>
                <a:lnTo>
                  <a:pt x="1030" y="1738"/>
                </a:lnTo>
                <a:lnTo>
                  <a:pt x="1030" y="1860"/>
                </a:lnTo>
                <a:lnTo>
                  <a:pt x="975" y="1860"/>
                </a:lnTo>
                <a:lnTo>
                  <a:pt x="975" y="1639"/>
                </a:lnTo>
                <a:close/>
                <a:moveTo>
                  <a:pt x="1030" y="1579"/>
                </a:moveTo>
                <a:lnTo>
                  <a:pt x="1030" y="1607"/>
                </a:lnTo>
                <a:lnTo>
                  <a:pt x="975" y="1607"/>
                </a:lnTo>
                <a:lnTo>
                  <a:pt x="975" y="1551"/>
                </a:lnTo>
                <a:lnTo>
                  <a:pt x="1030" y="1551"/>
                </a:lnTo>
                <a:lnTo>
                  <a:pt x="1030" y="1579"/>
                </a:lnTo>
                <a:close/>
                <a:moveTo>
                  <a:pt x="2539" y="2042"/>
                </a:moveTo>
                <a:lnTo>
                  <a:pt x="2539" y="2042"/>
                </a:lnTo>
                <a:lnTo>
                  <a:pt x="2534" y="2038"/>
                </a:lnTo>
                <a:lnTo>
                  <a:pt x="2528" y="2033"/>
                </a:lnTo>
                <a:lnTo>
                  <a:pt x="2523" y="2030"/>
                </a:lnTo>
                <a:lnTo>
                  <a:pt x="2516" y="2027"/>
                </a:lnTo>
                <a:lnTo>
                  <a:pt x="2511" y="2025"/>
                </a:lnTo>
                <a:lnTo>
                  <a:pt x="2504" y="2024"/>
                </a:lnTo>
                <a:lnTo>
                  <a:pt x="2490" y="2021"/>
                </a:lnTo>
                <a:lnTo>
                  <a:pt x="2490" y="2021"/>
                </a:lnTo>
                <a:lnTo>
                  <a:pt x="2480" y="2022"/>
                </a:lnTo>
                <a:lnTo>
                  <a:pt x="2471" y="2024"/>
                </a:lnTo>
                <a:lnTo>
                  <a:pt x="2462" y="2027"/>
                </a:lnTo>
                <a:lnTo>
                  <a:pt x="2453" y="2030"/>
                </a:lnTo>
                <a:lnTo>
                  <a:pt x="2446" y="2035"/>
                </a:lnTo>
                <a:lnTo>
                  <a:pt x="2439" y="2039"/>
                </a:lnTo>
                <a:lnTo>
                  <a:pt x="2432" y="2046"/>
                </a:lnTo>
                <a:lnTo>
                  <a:pt x="2426" y="2052"/>
                </a:lnTo>
                <a:lnTo>
                  <a:pt x="2421" y="2060"/>
                </a:lnTo>
                <a:lnTo>
                  <a:pt x="2416" y="2069"/>
                </a:lnTo>
                <a:lnTo>
                  <a:pt x="2413" y="2078"/>
                </a:lnTo>
                <a:lnTo>
                  <a:pt x="2409" y="2089"/>
                </a:lnTo>
                <a:lnTo>
                  <a:pt x="2406" y="2099"/>
                </a:lnTo>
                <a:lnTo>
                  <a:pt x="2405" y="2111"/>
                </a:lnTo>
                <a:lnTo>
                  <a:pt x="2404" y="2123"/>
                </a:lnTo>
                <a:lnTo>
                  <a:pt x="2403" y="2136"/>
                </a:lnTo>
                <a:lnTo>
                  <a:pt x="2403" y="2136"/>
                </a:lnTo>
                <a:lnTo>
                  <a:pt x="2404" y="2149"/>
                </a:lnTo>
                <a:lnTo>
                  <a:pt x="2405" y="2161"/>
                </a:lnTo>
                <a:lnTo>
                  <a:pt x="2406" y="2174"/>
                </a:lnTo>
                <a:lnTo>
                  <a:pt x="2409" y="2186"/>
                </a:lnTo>
                <a:lnTo>
                  <a:pt x="2411" y="2196"/>
                </a:lnTo>
                <a:lnTo>
                  <a:pt x="2416" y="2206"/>
                </a:lnTo>
                <a:lnTo>
                  <a:pt x="2420" y="2214"/>
                </a:lnTo>
                <a:lnTo>
                  <a:pt x="2426" y="2222"/>
                </a:lnTo>
                <a:lnTo>
                  <a:pt x="2431" y="2230"/>
                </a:lnTo>
                <a:lnTo>
                  <a:pt x="2438" y="2235"/>
                </a:lnTo>
                <a:lnTo>
                  <a:pt x="2445" y="2241"/>
                </a:lnTo>
                <a:lnTo>
                  <a:pt x="2452" y="2245"/>
                </a:lnTo>
                <a:lnTo>
                  <a:pt x="2461" y="2250"/>
                </a:lnTo>
                <a:lnTo>
                  <a:pt x="2470" y="2252"/>
                </a:lnTo>
                <a:lnTo>
                  <a:pt x="2479" y="2253"/>
                </a:lnTo>
                <a:lnTo>
                  <a:pt x="2489" y="2254"/>
                </a:lnTo>
                <a:lnTo>
                  <a:pt x="2489" y="2254"/>
                </a:lnTo>
                <a:lnTo>
                  <a:pt x="2495" y="2253"/>
                </a:lnTo>
                <a:lnTo>
                  <a:pt x="2503" y="2252"/>
                </a:lnTo>
                <a:lnTo>
                  <a:pt x="2510" y="2251"/>
                </a:lnTo>
                <a:lnTo>
                  <a:pt x="2515" y="2249"/>
                </a:lnTo>
                <a:lnTo>
                  <a:pt x="2522" y="2245"/>
                </a:lnTo>
                <a:lnTo>
                  <a:pt x="2528" y="2242"/>
                </a:lnTo>
                <a:lnTo>
                  <a:pt x="2534" y="2238"/>
                </a:lnTo>
                <a:lnTo>
                  <a:pt x="2539" y="2232"/>
                </a:lnTo>
                <a:lnTo>
                  <a:pt x="2539" y="2249"/>
                </a:lnTo>
                <a:lnTo>
                  <a:pt x="2595" y="2249"/>
                </a:lnTo>
                <a:lnTo>
                  <a:pt x="2595" y="1934"/>
                </a:lnTo>
                <a:lnTo>
                  <a:pt x="2539" y="1962"/>
                </a:lnTo>
                <a:lnTo>
                  <a:pt x="2539" y="2042"/>
                </a:lnTo>
                <a:close/>
                <a:moveTo>
                  <a:pt x="2501" y="2203"/>
                </a:moveTo>
                <a:lnTo>
                  <a:pt x="2501" y="2203"/>
                </a:lnTo>
                <a:lnTo>
                  <a:pt x="2493" y="2202"/>
                </a:lnTo>
                <a:lnTo>
                  <a:pt x="2487" y="2200"/>
                </a:lnTo>
                <a:lnTo>
                  <a:pt x="2479" y="2197"/>
                </a:lnTo>
                <a:lnTo>
                  <a:pt x="2472" y="2190"/>
                </a:lnTo>
                <a:lnTo>
                  <a:pt x="2467" y="2181"/>
                </a:lnTo>
                <a:lnTo>
                  <a:pt x="2462" y="2169"/>
                </a:lnTo>
                <a:lnTo>
                  <a:pt x="2460" y="2154"/>
                </a:lnTo>
                <a:lnTo>
                  <a:pt x="2459" y="2134"/>
                </a:lnTo>
                <a:lnTo>
                  <a:pt x="2459" y="2134"/>
                </a:lnTo>
                <a:lnTo>
                  <a:pt x="2460" y="2117"/>
                </a:lnTo>
                <a:lnTo>
                  <a:pt x="2462" y="2103"/>
                </a:lnTo>
                <a:lnTo>
                  <a:pt x="2467" y="2092"/>
                </a:lnTo>
                <a:lnTo>
                  <a:pt x="2472" y="2084"/>
                </a:lnTo>
                <a:lnTo>
                  <a:pt x="2479" y="2079"/>
                </a:lnTo>
                <a:lnTo>
                  <a:pt x="2485" y="2074"/>
                </a:lnTo>
                <a:lnTo>
                  <a:pt x="2493" y="2073"/>
                </a:lnTo>
                <a:lnTo>
                  <a:pt x="2500" y="2072"/>
                </a:lnTo>
                <a:lnTo>
                  <a:pt x="2500" y="2072"/>
                </a:lnTo>
                <a:lnTo>
                  <a:pt x="2507" y="2073"/>
                </a:lnTo>
                <a:lnTo>
                  <a:pt x="2514" y="2074"/>
                </a:lnTo>
                <a:lnTo>
                  <a:pt x="2520" y="2076"/>
                </a:lnTo>
                <a:lnTo>
                  <a:pt x="2525" y="2080"/>
                </a:lnTo>
                <a:lnTo>
                  <a:pt x="2530" y="2083"/>
                </a:lnTo>
                <a:lnTo>
                  <a:pt x="2534" y="2086"/>
                </a:lnTo>
                <a:lnTo>
                  <a:pt x="2539" y="2094"/>
                </a:lnTo>
                <a:lnTo>
                  <a:pt x="2539" y="2181"/>
                </a:lnTo>
                <a:lnTo>
                  <a:pt x="2539" y="2181"/>
                </a:lnTo>
                <a:lnTo>
                  <a:pt x="2533" y="2189"/>
                </a:lnTo>
                <a:lnTo>
                  <a:pt x="2525" y="2196"/>
                </a:lnTo>
                <a:lnTo>
                  <a:pt x="2520" y="2199"/>
                </a:lnTo>
                <a:lnTo>
                  <a:pt x="2514" y="2201"/>
                </a:lnTo>
                <a:lnTo>
                  <a:pt x="2507" y="2202"/>
                </a:lnTo>
                <a:lnTo>
                  <a:pt x="2501" y="2203"/>
                </a:lnTo>
                <a:lnTo>
                  <a:pt x="2501" y="2203"/>
                </a:lnTo>
                <a:close/>
                <a:moveTo>
                  <a:pt x="672" y="2089"/>
                </a:moveTo>
                <a:lnTo>
                  <a:pt x="672" y="2089"/>
                </a:lnTo>
                <a:lnTo>
                  <a:pt x="664" y="2084"/>
                </a:lnTo>
                <a:lnTo>
                  <a:pt x="656" y="2080"/>
                </a:lnTo>
                <a:lnTo>
                  <a:pt x="646" y="2078"/>
                </a:lnTo>
                <a:lnTo>
                  <a:pt x="636" y="2076"/>
                </a:lnTo>
                <a:lnTo>
                  <a:pt x="636" y="2076"/>
                </a:lnTo>
                <a:lnTo>
                  <a:pt x="627" y="2078"/>
                </a:lnTo>
                <a:lnTo>
                  <a:pt x="618" y="2080"/>
                </a:lnTo>
                <a:lnTo>
                  <a:pt x="611" y="2084"/>
                </a:lnTo>
                <a:lnTo>
                  <a:pt x="606" y="2090"/>
                </a:lnTo>
                <a:lnTo>
                  <a:pt x="601" y="2096"/>
                </a:lnTo>
                <a:lnTo>
                  <a:pt x="599" y="2105"/>
                </a:lnTo>
                <a:lnTo>
                  <a:pt x="597" y="2116"/>
                </a:lnTo>
                <a:lnTo>
                  <a:pt x="596" y="2128"/>
                </a:lnTo>
                <a:lnTo>
                  <a:pt x="596" y="2249"/>
                </a:lnTo>
                <a:lnTo>
                  <a:pt x="542" y="2249"/>
                </a:lnTo>
                <a:lnTo>
                  <a:pt x="542" y="2027"/>
                </a:lnTo>
                <a:lnTo>
                  <a:pt x="596" y="2027"/>
                </a:lnTo>
                <a:lnTo>
                  <a:pt x="596" y="2046"/>
                </a:lnTo>
                <a:lnTo>
                  <a:pt x="596" y="2046"/>
                </a:lnTo>
                <a:lnTo>
                  <a:pt x="601" y="2040"/>
                </a:lnTo>
                <a:lnTo>
                  <a:pt x="607" y="2035"/>
                </a:lnTo>
                <a:lnTo>
                  <a:pt x="613" y="2031"/>
                </a:lnTo>
                <a:lnTo>
                  <a:pt x="619" y="2028"/>
                </a:lnTo>
                <a:lnTo>
                  <a:pt x="625" y="2025"/>
                </a:lnTo>
                <a:lnTo>
                  <a:pt x="631" y="2024"/>
                </a:lnTo>
                <a:lnTo>
                  <a:pt x="639" y="2022"/>
                </a:lnTo>
                <a:lnTo>
                  <a:pt x="646" y="2021"/>
                </a:lnTo>
                <a:lnTo>
                  <a:pt x="646" y="2021"/>
                </a:lnTo>
                <a:lnTo>
                  <a:pt x="657" y="2022"/>
                </a:lnTo>
                <a:lnTo>
                  <a:pt x="668" y="2026"/>
                </a:lnTo>
                <a:lnTo>
                  <a:pt x="679" y="2030"/>
                </a:lnTo>
                <a:lnTo>
                  <a:pt x="688" y="2036"/>
                </a:lnTo>
                <a:lnTo>
                  <a:pt x="672" y="2089"/>
                </a:lnTo>
                <a:close/>
                <a:moveTo>
                  <a:pt x="241" y="2027"/>
                </a:moveTo>
                <a:lnTo>
                  <a:pt x="295" y="2027"/>
                </a:lnTo>
                <a:lnTo>
                  <a:pt x="232" y="2249"/>
                </a:lnTo>
                <a:lnTo>
                  <a:pt x="184" y="2249"/>
                </a:lnTo>
                <a:lnTo>
                  <a:pt x="160" y="2157"/>
                </a:lnTo>
                <a:lnTo>
                  <a:pt x="160" y="2157"/>
                </a:lnTo>
                <a:lnTo>
                  <a:pt x="148" y="2108"/>
                </a:lnTo>
                <a:lnTo>
                  <a:pt x="148" y="2108"/>
                </a:lnTo>
                <a:lnTo>
                  <a:pt x="142" y="2132"/>
                </a:lnTo>
                <a:lnTo>
                  <a:pt x="136" y="2158"/>
                </a:lnTo>
                <a:lnTo>
                  <a:pt x="110" y="2249"/>
                </a:lnTo>
                <a:lnTo>
                  <a:pt x="63" y="2249"/>
                </a:lnTo>
                <a:lnTo>
                  <a:pt x="63" y="2247"/>
                </a:lnTo>
                <a:lnTo>
                  <a:pt x="0" y="2027"/>
                </a:lnTo>
                <a:lnTo>
                  <a:pt x="57" y="2027"/>
                </a:lnTo>
                <a:lnTo>
                  <a:pt x="77" y="2110"/>
                </a:lnTo>
                <a:lnTo>
                  <a:pt x="77" y="2110"/>
                </a:lnTo>
                <a:lnTo>
                  <a:pt x="83" y="2136"/>
                </a:lnTo>
                <a:lnTo>
                  <a:pt x="88" y="2164"/>
                </a:lnTo>
                <a:lnTo>
                  <a:pt x="88" y="2164"/>
                </a:lnTo>
                <a:lnTo>
                  <a:pt x="95" y="2136"/>
                </a:lnTo>
                <a:lnTo>
                  <a:pt x="102" y="2108"/>
                </a:lnTo>
                <a:lnTo>
                  <a:pt x="125" y="2027"/>
                </a:lnTo>
                <a:lnTo>
                  <a:pt x="172" y="2027"/>
                </a:lnTo>
                <a:lnTo>
                  <a:pt x="195" y="2108"/>
                </a:lnTo>
                <a:lnTo>
                  <a:pt x="195" y="2108"/>
                </a:lnTo>
                <a:lnTo>
                  <a:pt x="202" y="2135"/>
                </a:lnTo>
                <a:lnTo>
                  <a:pt x="209" y="2165"/>
                </a:lnTo>
                <a:lnTo>
                  <a:pt x="209" y="2165"/>
                </a:lnTo>
                <a:lnTo>
                  <a:pt x="213" y="2139"/>
                </a:lnTo>
                <a:lnTo>
                  <a:pt x="220" y="2108"/>
                </a:lnTo>
                <a:lnTo>
                  <a:pt x="241" y="2027"/>
                </a:lnTo>
                <a:close/>
                <a:moveTo>
                  <a:pt x="406" y="2021"/>
                </a:moveTo>
                <a:lnTo>
                  <a:pt x="406" y="2021"/>
                </a:lnTo>
                <a:lnTo>
                  <a:pt x="396" y="2022"/>
                </a:lnTo>
                <a:lnTo>
                  <a:pt x="385" y="2024"/>
                </a:lnTo>
                <a:lnTo>
                  <a:pt x="375" y="2027"/>
                </a:lnTo>
                <a:lnTo>
                  <a:pt x="366" y="2030"/>
                </a:lnTo>
                <a:lnTo>
                  <a:pt x="358" y="2035"/>
                </a:lnTo>
                <a:lnTo>
                  <a:pt x="349" y="2040"/>
                </a:lnTo>
                <a:lnTo>
                  <a:pt x="341" y="2047"/>
                </a:lnTo>
                <a:lnTo>
                  <a:pt x="334" y="2054"/>
                </a:lnTo>
                <a:lnTo>
                  <a:pt x="328" y="2062"/>
                </a:lnTo>
                <a:lnTo>
                  <a:pt x="322" y="2071"/>
                </a:lnTo>
                <a:lnTo>
                  <a:pt x="317" y="2081"/>
                </a:lnTo>
                <a:lnTo>
                  <a:pt x="313" y="2091"/>
                </a:lnTo>
                <a:lnTo>
                  <a:pt x="310" y="2102"/>
                </a:lnTo>
                <a:lnTo>
                  <a:pt x="308" y="2113"/>
                </a:lnTo>
                <a:lnTo>
                  <a:pt x="306" y="2125"/>
                </a:lnTo>
                <a:lnTo>
                  <a:pt x="306" y="2138"/>
                </a:lnTo>
                <a:lnTo>
                  <a:pt x="306" y="2138"/>
                </a:lnTo>
                <a:lnTo>
                  <a:pt x="306" y="2150"/>
                </a:lnTo>
                <a:lnTo>
                  <a:pt x="308" y="2163"/>
                </a:lnTo>
                <a:lnTo>
                  <a:pt x="310" y="2174"/>
                </a:lnTo>
                <a:lnTo>
                  <a:pt x="313" y="2185"/>
                </a:lnTo>
                <a:lnTo>
                  <a:pt x="317" y="2194"/>
                </a:lnTo>
                <a:lnTo>
                  <a:pt x="322" y="2204"/>
                </a:lnTo>
                <a:lnTo>
                  <a:pt x="328" y="2213"/>
                </a:lnTo>
                <a:lnTo>
                  <a:pt x="334" y="2221"/>
                </a:lnTo>
                <a:lnTo>
                  <a:pt x="341" y="2229"/>
                </a:lnTo>
                <a:lnTo>
                  <a:pt x="349" y="2235"/>
                </a:lnTo>
                <a:lnTo>
                  <a:pt x="358" y="2241"/>
                </a:lnTo>
                <a:lnTo>
                  <a:pt x="366" y="2245"/>
                </a:lnTo>
                <a:lnTo>
                  <a:pt x="375" y="2249"/>
                </a:lnTo>
                <a:lnTo>
                  <a:pt x="385" y="2252"/>
                </a:lnTo>
                <a:lnTo>
                  <a:pt x="396" y="2253"/>
                </a:lnTo>
                <a:lnTo>
                  <a:pt x="406" y="2254"/>
                </a:lnTo>
                <a:lnTo>
                  <a:pt x="406" y="2254"/>
                </a:lnTo>
                <a:lnTo>
                  <a:pt x="417" y="2253"/>
                </a:lnTo>
                <a:lnTo>
                  <a:pt x="428" y="2252"/>
                </a:lnTo>
                <a:lnTo>
                  <a:pt x="438" y="2249"/>
                </a:lnTo>
                <a:lnTo>
                  <a:pt x="447" y="2245"/>
                </a:lnTo>
                <a:lnTo>
                  <a:pt x="456" y="2241"/>
                </a:lnTo>
                <a:lnTo>
                  <a:pt x="465" y="2235"/>
                </a:lnTo>
                <a:lnTo>
                  <a:pt x="472" y="2229"/>
                </a:lnTo>
                <a:lnTo>
                  <a:pt x="479" y="2221"/>
                </a:lnTo>
                <a:lnTo>
                  <a:pt x="486" y="2213"/>
                </a:lnTo>
                <a:lnTo>
                  <a:pt x="491" y="2204"/>
                </a:lnTo>
                <a:lnTo>
                  <a:pt x="496" y="2194"/>
                </a:lnTo>
                <a:lnTo>
                  <a:pt x="500" y="2185"/>
                </a:lnTo>
                <a:lnTo>
                  <a:pt x="503" y="2174"/>
                </a:lnTo>
                <a:lnTo>
                  <a:pt x="505" y="2163"/>
                </a:lnTo>
                <a:lnTo>
                  <a:pt x="508" y="2150"/>
                </a:lnTo>
                <a:lnTo>
                  <a:pt x="508" y="2138"/>
                </a:lnTo>
                <a:lnTo>
                  <a:pt x="508" y="2138"/>
                </a:lnTo>
                <a:lnTo>
                  <a:pt x="508" y="2125"/>
                </a:lnTo>
                <a:lnTo>
                  <a:pt x="505" y="2113"/>
                </a:lnTo>
                <a:lnTo>
                  <a:pt x="503" y="2102"/>
                </a:lnTo>
                <a:lnTo>
                  <a:pt x="500" y="2091"/>
                </a:lnTo>
                <a:lnTo>
                  <a:pt x="496" y="2081"/>
                </a:lnTo>
                <a:lnTo>
                  <a:pt x="491" y="2071"/>
                </a:lnTo>
                <a:lnTo>
                  <a:pt x="486" y="2062"/>
                </a:lnTo>
                <a:lnTo>
                  <a:pt x="479" y="2054"/>
                </a:lnTo>
                <a:lnTo>
                  <a:pt x="472" y="2047"/>
                </a:lnTo>
                <a:lnTo>
                  <a:pt x="465" y="2040"/>
                </a:lnTo>
                <a:lnTo>
                  <a:pt x="456" y="2035"/>
                </a:lnTo>
                <a:lnTo>
                  <a:pt x="447" y="2030"/>
                </a:lnTo>
                <a:lnTo>
                  <a:pt x="438" y="2027"/>
                </a:lnTo>
                <a:lnTo>
                  <a:pt x="428" y="2024"/>
                </a:lnTo>
                <a:lnTo>
                  <a:pt x="417" y="2022"/>
                </a:lnTo>
                <a:lnTo>
                  <a:pt x="406" y="2021"/>
                </a:lnTo>
                <a:lnTo>
                  <a:pt x="406" y="2021"/>
                </a:lnTo>
                <a:close/>
                <a:moveTo>
                  <a:pt x="406" y="2202"/>
                </a:moveTo>
                <a:lnTo>
                  <a:pt x="406" y="2202"/>
                </a:lnTo>
                <a:lnTo>
                  <a:pt x="396" y="2201"/>
                </a:lnTo>
                <a:lnTo>
                  <a:pt x="387" y="2198"/>
                </a:lnTo>
                <a:lnTo>
                  <a:pt x="381" y="2192"/>
                </a:lnTo>
                <a:lnTo>
                  <a:pt x="374" y="2185"/>
                </a:lnTo>
                <a:lnTo>
                  <a:pt x="369" y="2176"/>
                </a:lnTo>
                <a:lnTo>
                  <a:pt x="364" y="2165"/>
                </a:lnTo>
                <a:lnTo>
                  <a:pt x="362" y="2151"/>
                </a:lnTo>
                <a:lnTo>
                  <a:pt x="362" y="2138"/>
                </a:lnTo>
                <a:lnTo>
                  <a:pt x="362" y="2138"/>
                </a:lnTo>
                <a:lnTo>
                  <a:pt x="362" y="2124"/>
                </a:lnTo>
                <a:lnTo>
                  <a:pt x="364" y="2111"/>
                </a:lnTo>
                <a:lnTo>
                  <a:pt x="369" y="2101"/>
                </a:lnTo>
                <a:lnTo>
                  <a:pt x="374" y="2091"/>
                </a:lnTo>
                <a:lnTo>
                  <a:pt x="381" y="2083"/>
                </a:lnTo>
                <a:lnTo>
                  <a:pt x="387" y="2078"/>
                </a:lnTo>
                <a:lnTo>
                  <a:pt x="396" y="2074"/>
                </a:lnTo>
                <a:lnTo>
                  <a:pt x="406" y="2073"/>
                </a:lnTo>
                <a:lnTo>
                  <a:pt x="406" y="2073"/>
                </a:lnTo>
                <a:lnTo>
                  <a:pt x="416" y="2074"/>
                </a:lnTo>
                <a:lnTo>
                  <a:pt x="425" y="2078"/>
                </a:lnTo>
                <a:lnTo>
                  <a:pt x="433" y="2083"/>
                </a:lnTo>
                <a:lnTo>
                  <a:pt x="439" y="2091"/>
                </a:lnTo>
                <a:lnTo>
                  <a:pt x="445" y="2101"/>
                </a:lnTo>
                <a:lnTo>
                  <a:pt x="448" y="2111"/>
                </a:lnTo>
                <a:lnTo>
                  <a:pt x="450" y="2124"/>
                </a:lnTo>
                <a:lnTo>
                  <a:pt x="451" y="2138"/>
                </a:lnTo>
                <a:lnTo>
                  <a:pt x="451" y="2138"/>
                </a:lnTo>
                <a:lnTo>
                  <a:pt x="450" y="2151"/>
                </a:lnTo>
                <a:lnTo>
                  <a:pt x="448" y="2165"/>
                </a:lnTo>
                <a:lnTo>
                  <a:pt x="445" y="2176"/>
                </a:lnTo>
                <a:lnTo>
                  <a:pt x="439" y="2185"/>
                </a:lnTo>
                <a:lnTo>
                  <a:pt x="433" y="2192"/>
                </a:lnTo>
                <a:lnTo>
                  <a:pt x="425" y="2198"/>
                </a:lnTo>
                <a:lnTo>
                  <a:pt x="416" y="2201"/>
                </a:lnTo>
                <a:lnTo>
                  <a:pt x="406" y="2202"/>
                </a:lnTo>
                <a:lnTo>
                  <a:pt x="406" y="2202"/>
                </a:lnTo>
                <a:close/>
                <a:moveTo>
                  <a:pt x="2269" y="2089"/>
                </a:moveTo>
                <a:lnTo>
                  <a:pt x="2269" y="2089"/>
                </a:lnTo>
                <a:lnTo>
                  <a:pt x="2260" y="2084"/>
                </a:lnTo>
                <a:lnTo>
                  <a:pt x="2251" y="2080"/>
                </a:lnTo>
                <a:lnTo>
                  <a:pt x="2242" y="2078"/>
                </a:lnTo>
                <a:lnTo>
                  <a:pt x="2233" y="2076"/>
                </a:lnTo>
                <a:lnTo>
                  <a:pt x="2233" y="2076"/>
                </a:lnTo>
                <a:lnTo>
                  <a:pt x="2223" y="2078"/>
                </a:lnTo>
                <a:lnTo>
                  <a:pt x="2215" y="2080"/>
                </a:lnTo>
                <a:lnTo>
                  <a:pt x="2208" y="2084"/>
                </a:lnTo>
                <a:lnTo>
                  <a:pt x="2203" y="2090"/>
                </a:lnTo>
                <a:lnTo>
                  <a:pt x="2198" y="2096"/>
                </a:lnTo>
                <a:lnTo>
                  <a:pt x="2195" y="2105"/>
                </a:lnTo>
                <a:lnTo>
                  <a:pt x="2193" y="2116"/>
                </a:lnTo>
                <a:lnTo>
                  <a:pt x="2193" y="2128"/>
                </a:lnTo>
                <a:lnTo>
                  <a:pt x="2193" y="2249"/>
                </a:lnTo>
                <a:lnTo>
                  <a:pt x="2138" y="2249"/>
                </a:lnTo>
                <a:lnTo>
                  <a:pt x="2138" y="2027"/>
                </a:lnTo>
                <a:lnTo>
                  <a:pt x="2193" y="2027"/>
                </a:lnTo>
                <a:lnTo>
                  <a:pt x="2193" y="2046"/>
                </a:lnTo>
                <a:lnTo>
                  <a:pt x="2193" y="2046"/>
                </a:lnTo>
                <a:lnTo>
                  <a:pt x="2197" y="2040"/>
                </a:lnTo>
                <a:lnTo>
                  <a:pt x="2203" y="2035"/>
                </a:lnTo>
                <a:lnTo>
                  <a:pt x="2208" y="2031"/>
                </a:lnTo>
                <a:lnTo>
                  <a:pt x="2215" y="2028"/>
                </a:lnTo>
                <a:lnTo>
                  <a:pt x="2222" y="2025"/>
                </a:lnTo>
                <a:lnTo>
                  <a:pt x="2228" y="2024"/>
                </a:lnTo>
                <a:lnTo>
                  <a:pt x="2235" y="2022"/>
                </a:lnTo>
                <a:lnTo>
                  <a:pt x="2242" y="2021"/>
                </a:lnTo>
                <a:lnTo>
                  <a:pt x="2242" y="2021"/>
                </a:lnTo>
                <a:lnTo>
                  <a:pt x="2253" y="2022"/>
                </a:lnTo>
                <a:lnTo>
                  <a:pt x="2264" y="2026"/>
                </a:lnTo>
                <a:lnTo>
                  <a:pt x="2275" y="2030"/>
                </a:lnTo>
                <a:lnTo>
                  <a:pt x="2283" y="2036"/>
                </a:lnTo>
                <a:lnTo>
                  <a:pt x="2269" y="2089"/>
                </a:lnTo>
                <a:close/>
                <a:moveTo>
                  <a:pt x="1836" y="2027"/>
                </a:moveTo>
                <a:lnTo>
                  <a:pt x="1891" y="2027"/>
                </a:lnTo>
                <a:lnTo>
                  <a:pt x="1828" y="2249"/>
                </a:lnTo>
                <a:lnTo>
                  <a:pt x="1780" y="2249"/>
                </a:lnTo>
                <a:lnTo>
                  <a:pt x="1756" y="2157"/>
                </a:lnTo>
                <a:lnTo>
                  <a:pt x="1756" y="2157"/>
                </a:lnTo>
                <a:lnTo>
                  <a:pt x="1744" y="2108"/>
                </a:lnTo>
                <a:lnTo>
                  <a:pt x="1744" y="2108"/>
                </a:lnTo>
                <a:lnTo>
                  <a:pt x="1738" y="2132"/>
                </a:lnTo>
                <a:lnTo>
                  <a:pt x="1732" y="2158"/>
                </a:lnTo>
                <a:lnTo>
                  <a:pt x="1707" y="2249"/>
                </a:lnTo>
                <a:lnTo>
                  <a:pt x="1660" y="2249"/>
                </a:lnTo>
                <a:lnTo>
                  <a:pt x="1659" y="2247"/>
                </a:lnTo>
                <a:lnTo>
                  <a:pt x="1597" y="2027"/>
                </a:lnTo>
                <a:lnTo>
                  <a:pt x="1653" y="2027"/>
                </a:lnTo>
                <a:lnTo>
                  <a:pt x="1674" y="2110"/>
                </a:lnTo>
                <a:lnTo>
                  <a:pt x="1674" y="2110"/>
                </a:lnTo>
                <a:lnTo>
                  <a:pt x="1680" y="2136"/>
                </a:lnTo>
                <a:lnTo>
                  <a:pt x="1685" y="2164"/>
                </a:lnTo>
                <a:lnTo>
                  <a:pt x="1685" y="2164"/>
                </a:lnTo>
                <a:lnTo>
                  <a:pt x="1691" y="2136"/>
                </a:lnTo>
                <a:lnTo>
                  <a:pt x="1699" y="2108"/>
                </a:lnTo>
                <a:lnTo>
                  <a:pt x="1722" y="2027"/>
                </a:lnTo>
                <a:lnTo>
                  <a:pt x="1768" y="2027"/>
                </a:lnTo>
                <a:lnTo>
                  <a:pt x="1791" y="2108"/>
                </a:lnTo>
                <a:lnTo>
                  <a:pt x="1791" y="2108"/>
                </a:lnTo>
                <a:lnTo>
                  <a:pt x="1798" y="2135"/>
                </a:lnTo>
                <a:lnTo>
                  <a:pt x="1804" y="2165"/>
                </a:lnTo>
                <a:lnTo>
                  <a:pt x="1804" y="2165"/>
                </a:lnTo>
                <a:lnTo>
                  <a:pt x="1810" y="2139"/>
                </a:lnTo>
                <a:lnTo>
                  <a:pt x="1817" y="2108"/>
                </a:lnTo>
                <a:lnTo>
                  <a:pt x="1836" y="2027"/>
                </a:lnTo>
                <a:close/>
                <a:moveTo>
                  <a:pt x="2002" y="2021"/>
                </a:moveTo>
                <a:lnTo>
                  <a:pt x="2002" y="2021"/>
                </a:lnTo>
                <a:lnTo>
                  <a:pt x="1992" y="2022"/>
                </a:lnTo>
                <a:lnTo>
                  <a:pt x="1981" y="2024"/>
                </a:lnTo>
                <a:lnTo>
                  <a:pt x="1971" y="2027"/>
                </a:lnTo>
                <a:lnTo>
                  <a:pt x="1962" y="2030"/>
                </a:lnTo>
                <a:lnTo>
                  <a:pt x="1953" y="2035"/>
                </a:lnTo>
                <a:lnTo>
                  <a:pt x="1945" y="2041"/>
                </a:lnTo>
                <a:lnTo>
                  <a:pt x="1937" y="2047"/>
                </a:lnTo>
                <a:lnTo>
                  <a:pt x="1930" y="2054"/>
                </a:lnTo>
                <a:lnTo>
                  <a:pt x="1924" y="2062"/>
                </a:lnTo>
                <a:lnTo>
                  <a:pt x="1918" y="2071"/>
                </a:lnTo>
                <a:lnTo>
                  <a:pt x="1913" y="2081"/>
                </a:lnTo>
                <a:lnTo>
                  <a:pt x="1909" y="2091"/>
                </a:lnTo>
                <a:lnTo>
                  <a:pt x="1906" y="2102"/>
                </a:lnTo>
                <a:lnTo>
                  <a:pt x="1903" y="2114"/>
                </a:lnTo>
                <a:lnTo>
                  <a:pt x="1902" y="2125"/>
                </a:lnTo>
                <a:lnTo>
                  <a:pt x="1902" y="2138"/>
                </a:lnTo>
                <a:lnTo>
                  <a:pt x="1902" y="2138"/>
                </a:lnTo>
                <a:lnTo>
                  <a:pt x="1902" y="2150"/>
                </a:lnTo>
                <a:lnTo>
                  <a:pt x="1903" y="2163"/>
                </a:lnTo>
                <a:lnTo>
                  <a:pt x="1906" y="2174"/>
                </a:lnTo>
                <a:lnTo>
                  <a:pt x="1909" y="2185"/>
                </a:lnTo>
                <a:lnTo>
                  <a:pt x="1913" y="2194"/>
                </a:lnTo>
                <a:lnTo>
                  <a:pt x="1918" y="2204"/>
                </a:lnTo>
                <a:lnTo>
                  <a:pt x="1924" y="2213"/>
                </a:lnTo>
                <a:lnTo>
                  <a:pt x="1930" y="2221"/>
                </a:lnTo>
                <a:lnTo>
                  <a:pt x="1937" y="2229"/>
                </a:lnTo>
                <a:lnTo>
                  <a:pt x="1945" y="2235"/>
                </a:lnTo>
                <a:lnTo>
                  <a:pt x="1953" y="2241"/>
                </a:lnTo>
                <a:lnTo>
                  <a:pt x="1962" y="2245"/>
                </a:lnTo>
                <a:lnTo>
                  <a:pt x="1971" y="2249"/>
                </a:lnTo>
                <a:lnTo>
                  <a:pt x="1981" y="2252"/>
                </a:lnTo>
                <a:lnTo>
                  <a:pt x="1992" y="2253"/>
                </a:lnTo>
                <a:lnTo>
                  <a:pt x="2002" y="2254"/>
                </a:lnTo>
                <a:lnTo>
                  <a:pt x="2002" y="2254"/>
                </a:lnTo>
                <a:lnTo>
                  <a:pt x="2013" y="2253"/>
                </a:lnTo>
                <a:lnTo>
                  <a:pt x="2024" y="2252"/>
                </a:lnTo>
                <a:lnTo>
                  <a:pt x="2034" y="2249"/>
                </a:lnTo>
                <a:lnTo>
                  <a:pt x="2043" y="2245"/>
                </a:lnTo>
                <a:lnTo>
                  <a:pt x="2052" y="2241"/>
                </a:lnTo>
                <a:lnTo>
                  <a:pt x="2061" y="2235"/>
                </a:lnTo>
                <a:lnTo>
                  <a:pt x="2068" y="2229"/>
                </a:lnTo>
                <a:lnTo>
                  <a:pt x="2075" y="2221"/>
                </a:lnTo>
                <a:lnTo>
                  <a:pt x="2081" y="2213"/>
                </a:lnTo>
                <a:lnTo>
                  <a:pt x="2087" y="2204"/>
                </a:lnTo>
                <a:lnTo>
                  <a:pt x="2091" y="2194"/>
                </a:lnTo>
                <a:lnTo>
                  <a:pt x="2096" y="2185"/>
                </a:lnTo>
                <a:lnTo>
                  <a:pt x="2099" y="2174"/>
                </a:lnTo>
                <a:lnTo>
                  <a:pt x="2101" y="2163"/>
                </a:lnTo>
                <a:lnTo>
                  <a:pt x="2104" y="2150"/>
                </a:lnTo>
                <a:lnTo>
                  <a:pt x="2104" y="2138"/>
                </a:lnTo>
                <a:lnTo>
                  <a:pt x="2104" y="2138"/>
                </a:lnTo>
                <a:lnTo>
                  <a:pt x="2104" y="2125"/>
                </a:lnTo>
                <a:lnTo>
                  <a:pt x="2101" y="2114"/>
                </a:lnTo>
                <a:lnTo>
                  <a:pt x="2099" y="2102"/>
                </a:lnTo>
                <a:lnTo>
                  <a:pt x="2096" y="2091"/>
                </a:lnTo>
                <a:lnTo>
                  <a:pt x="2091" y="2081"/>
                </a:lnTo>
                <a:lnTo>
                  <a:pt x="2087" y="2071"/>
                </a:lnTo>
                <a:lnTo>
                  <a:pt x="2081" y="2062"/>
                </a:lnTo>
                <a:lnTo>
                  <a:pt x="2075" y="2054"/>
                </a:lnTo>
                <a:lnTo>
                  <a:pt x="2068" y="2047"/>
                </a:lnTo>
                <a:lnTo>
                  <a:pt x="2061" y="2041"/>
                </a:lnTo>
                <a:lnTo>
                  <a:pt x="2052" y="2035"/>
                </a:lnTo>
                <a:lnTo>
                  <a:pt x="2043" y="2030"/>
                </a:lnTo>
                <a:lnTo>
                  <a:pt x="2034" y="2027"/>
                </a:lnTo>
                <a:lnTo>
                  <a:pt x="2024" y="2024"/>
                </a:lnTo>
                <a:lnTo>
                  <a:pt x="2013" y="2022"/>
                </a:lnTo>
                <a:lnTo>
                  <a:pt x="2002" y="2021"/>
                </a:lnTo>
                <a:lnTo>
                  <a:pt x="2002" y="2021"/>
                </a:lnTo>
                <a:close/>
                <a:moveTo>
                  <a:pt x="2002" y="2202"/>
                </a:moveTo>
                <a:lnTo>
                  <a:pt x="2002" y="2202"/>
                </a:lnTo>
                <a:lnTo>
                  <a:pt x="1992" y="2201"/>
                </a:lnTo>
                <a:lnTo>
                  <a:pt x="1984" y="2198"/>
                </a:lnTo>
                <a:lnTo>
                  <a:pt x="1977" y="2192"/>
                </a:lnTo>
                <a:lnTo>
                  <a:pt x="1970" y="2185"/>
                </a:lnTo>
                <a:lnTo>
                  <a:pt x="1964" y="2176"/>
                </a:lnTo>
                <a:lnTo>
                  <a:pt x="1960" y="2165"/>
                </a:lnTo>
                <a:lnTo>
                  <a:pt x="1958" y="2151"/>
                </a:lnTo>
                <a:lnTo>
                  <a:pt x="1958" y="2138"/>
                </a:lnTo>
                <a:lnTo>
                  <a:pt x="1958" y="2138"/>
                </a:lnTo>
                <a:lnTo>
                  <a:pt x="1958" y="2124"/>
                </a:lnTo>
                <a:lnTo>
                  <a:pt x="1960" y="2112"/>
                </a:lnTo>
                <a:lnTo>
                  <a:pt x="1964" y="2101"/>
                </a:lnTo>
                <a:lnTo>
                  <a:pt x="1970" y="2091"/>
                </a:lnTo>
                <a:lnTo>
                  <a:pt x="1977" y="2083"/>
                </a:lnTo>
                <a:lnTo>
                  <a:pt x="1984" y="2078"/>
                </a:lnTo>
                <a:lnTo>
                  <a:pt x="1992" y="2074"/>
                </a:lnTo>
                <a:lnTo>
                  <a:pt x="2002" y="2073"/>
                </a:lnTo>
                <a:lnTo>
                  <a:pt x="2002" y="2073"/>
                </a:lnTo>
                <a:lnTo>
                  <a:pt x="2012" y="2074"/>
                </a:lnTo>
                <a:lnTo>
                  <a:pt x="2021" y="2078"/>
                </a:lnTo>
                <a:lnTo>
                  <a:pt x="2029" y="2083"/>
                </a:lnTo>
                <a:lnTo>
                  <a:pt x="2035" y="2091"/>
                </a:lnTo>
                <a:lnTo>
                  <a:pt x="2041" y="2101"/>
                </a:lnTo>
                <a:lnTo>
                  <a:pt x="2044" y="2112"/>
                </a:lnTo>
                <a:lnTo>
                  <a:pt x="2046" y="2124"/>
                </a:lnTo>
                <a:lnTo>
                  <a:pt x="2047" y="2138"/>
                </a:lnTo>
                <a:lnTo>
                  <a:pt x="2047" y="2138"/>
                </a:lnTo>
                <a:lnTo>
                  <a:pt x="2046" y="2151"/>
                </a:lnTo>
                <a:lnTo>
                  <a:pt x="2044" y="2165"/>
                </a:lnTo>
                <a:lnTo>
                  <a:pt x="2041" y="2176"/>
                </a:lnTo>
                <a:lnTo>
                  <a:pt x="2035" y="2185"/>
                </a:lnTo>
                <a:lnTo>
                  <a:pt x="2029" y="2192"/>
                </a:lnTo>
                <a:lnTo>
                  <a:pt x="2021" y="2198"/>
                </a:lnTo>
                <a:lnTo>
                  <a:pt x="2012" y="2201"/>
                </a:lnTo>
                <a:lnTo>
                  <a:pt x="2002" y="2202"/>
                </a:lnTo>
                <a:lnTo>
                  <a:pt x="2002" y="2202"/>
                </a:lnTo>
                <a:close/>
                <a:moveTo>
                  <a:pt x="837" y="2100"/>
                </a:moveTo>
                <a:lnTo>
                  <a:pt x="904" y="2249"/>
                </a:lnTo>
                <a:lnTo>
                  <a:pt x="843" y="2249"/>
                </a:lnTo>
                <a:lnTo>
                  <a:pt x="797" y="2146"/>
                </a:lnTo>
                <a:lnTo>
                  <a:pt x="767" y="2182"/>
                </a:lnTo>
                <a:lnTo>
                  <a:pt x="767" y="2249"/>
                </a:lnTo>
                <a:lnTo>
                  <a:pt x="713" y="2249"/>
                </a:lnTo>
                <a:lnTo>
                  <a:pt x="713" y="1962"/>
                </a:lnTo>
                <a:lnTo>
                  <a:pt x="767" y="1934"/>
                </a:lnTo>
                <a:lnTo>
                  <a:pt x="767" y="2112"/>
                </a:lnTo>
                <a:lnTo>
                  <a:pt x="767" y="2112"/>
                </a:lnTo>
                <a:lnTo>
                  <a:pt x="788" y="2083"/>
                </a:lnTo>
                <a:lnTo>
                  <a:pt x="832" y="2027"/>
                </a:lnTo>
                <a:lnTo>
                  <a:pt x="896" y="2027"/>
                </a:lnTo>
                <a:lnTo>
                  <a:pt x="837" y="2100"/>
                </a:lnTo>
                <a:close/>
                <a:moveTo>
                  <a:pt x="1097" y="2249"/>
                </a:moveTo>
                <a:lnTo>
                  <a:pt x="1042" y="2249"/>
                </a:lnTo>
                <a:lnTo>
                  <a:pt x="1042" y="2027"/>
                </a:lnTo>
                <a:lnTo>
                  <a:pt x="1097" y="2027"/>
                </a:lnTo>
                <a:lnTo>
                  <a:pt x="1097" y="2046"/>
                </a:lnTo>
                <a:lnTo>
                  <a:pt x="1097" y="2046"/>
                </a:lnTo>
                <a:lnTo>
                  <a:pt x="1103" y="2040"/>
                </a:lnTo>
                <a:lnTo>
                  <a:pt x="1108" y="2036"/>
                </a:lnTo>
                <a:lnTo>
                  <a:pt x="1115" y="2031"/>
                </a:lnTo>
                <a:lnTo>
                  <a:pt x="1121" y="2028"/>
                </a:lnTo>
                <a:lnTo>
                  <a:pt x="1129" y="2026"/>
                </a:lnTo>
                <a:lnTo>
                  <a:pt x="1137" y="2024"/>
                </a:lnTo>
                <a:lnTo>
                  <a:pt x="1144" y="2022"/>
                </a:lnTo>
                <a:lnTo>
                  <a:pt x="1153" y="2021"/>
                </a:lnTo>
                <a:lnTo>
                  <a:pt x="1153" y="2021"/>
                </a:lnTo>
                <a:lnTo>
                  <a:pt x="1163" y="2022"/>
                </a:lnTo>
                <a:lnTo>
                  <a:pt x="1172" y="2024"/>
                </a:lnTo>
                <a:lnTo>
                  <a:pt x="1180" y="2026"/>
                </a:lnTo>
                <a:lnTo>
                  <a:pt x="1189" y="2028"/>
                </a:lnTo>
                <a:lnTo>
                  <a:pt x="1195" y="2032"/>
                </a:lnTo>
                <a:lnTo>
                  <a:pt x="1202" y="2037"/>
                </a:lnTo>
                <a:lnTo>
                  <a:pt x="1208" y="2041"/>
                </a:lnTo>
                <a:lnTo>
                  <a:pt x="1214" y="2048"/>
                </a:lnTo>
                <a:lnTo>
                  <a:pt x="1218" y="2054"/>
                </a:lnTo>
                <a:lnTo>
                  <a:pt x="1223" y="2062"/>
                </a:lnTo>
                <a:lnTo>
                  <a:pt x="1226" y="2070"/>
                </a:lnTo>
                <a:lnTo>
                  <a:pt x="1229" y="2080"/>
                </a:lnTo>
                <a:lnTo>
                  <a:pt x="1232" y="2090"/>
                </a:lnTo>
                <a:lnTo>
                  <a:pt x="1233" y="2100"/>
                </a:lnTo>
                <a:lnTo>
                  <a:pt x="1234" y="2111"/>
                </a:lnTo>
                <a:lnTo>
                  <a:pt x="1235" y="2123"/>
                </a:lnTo>
                <a:lnTo>
                  <a:pt x="1235" y="2249"/>
                </a:lnTo>
                <a:lnTo>
                  <a:pt x="1180" y="2249"/>
                </a:lnTo>
                <a:lnTo>
                  <a:pt x="1180" y="2126"/>
                </a:lnTo>
                <a:lnTo>
                  <a:pt x="1180" y="2126"/>
                </a:lnTo>
                <a:lnTo>
                  <a:pt x="1179" y="2114"/>
                </a:lnTo>
                <a:lnTo>
                  <a:pt x="1178" y="2102"/>
                </a:lnTo>
                <a:lnTo>
                  <a:pt x="1174" y="2093"/>
                </a:lnTo>
                <a:lnTo>
                  <a:pt x="1170" y="2085"/>
                </a:lnTo>
                <a:lnTo>
                  <a:pt x="1164" y="2080"/>
                </a:lnTo>
                <a:lnTo>
                  <a:pt x="1158" y="2075"/>
                </a:lnTo>
                <a:lnTo>
                  <a:pt x="1149" y="2073"/>
                </a:lnTo>
                <a:lnTo>
                  <a:pt x="1139" y="2072"/>
                </a:lnTo>
                <a:lnTo>
                  <a:pt x="1139" y="2072"/>
                </a:lnTo>
                <a:lnTo>
                  <a:pt x="1130" y="2073"/>
                </a:lnTo>
                <a:lnTo>
                  <a:pt x="1121" y="2075"/>
                </a:lnTo>
                <a:lnTo>
                  <a:pt x="1114" y="2080"/>
                </a:lnTo>
                <a:lnTo>
                  <a:pt x="1108" y="2086"/>
                </a:lnTo>
                <a:lnTo>
                  <a:pt x="1104" y="2093"/>
                </a:lnTo>
                <a:lnTo>
                  <a:pt x="1100" y="2103"/>
                </a:lnTo>
                <a:lnTo>
                  <a:pt x="1098" y="2114"/>
                </a:lnTo>
                <a:lnTo>
                  <a:pt x="1097" y="2126"/>
                </a:lnTo>
                <a:lnTo>
                  <a:pt x="1097" y="2249"/>
                </a:lnTo>
                <a:close/>
                <a:moveTo>
                  <a:pt x="1408" y="2042"/>
                </a:moveTo>
                <a:lnTo>
                  <a:pt x="1408" y="2042"/>
                </a:lnTo>
                <a:lnTo>
                  <a:pt x="1403" y="2038"/>
                </a:lnTo>
                <a:lnTo>
                  <a:pt x="1397" y="2033"/>
                </a:lnTo>
                <a:lnTo>
                  <a:pt x="1392" y="2030"/>
                </a:lnTo>
                <a:lnTo>
                  <a:pt x="1385" y="2027"/>
                </a:lnTo>
                <a:lnTo>
                  <a:pt x="1378" y="2025"/>
                </a:lnTo>
                <a:lnTo>
                  <a:pt x="1372" y="2024"/>
                </a:lnTo>
                <a:lnTo>
                  <a:pt x="1365" y="2022"/>
                </a:lnTo>
                <a:lnTo>
                  <a:pt x="1359" y="2021"/>
                </a:lnTo>
                <a:lnTo>
                  <a:pt x="1359" y="2021"/>
                </a:lnTo>
                <a:lnTo>
                  <a:pt x="1349" y="2022"/>
                </a:lnTo>
                <a:lnTo>
                  <a:pt x="1340" y="2024"/>
                </a:lnTo>
                <a:lnTo>
                  <a:pt x="1331" y="2026"/>
                </a:lnTo>
                <a:lnTo>
                  <a:pt x="1322" y="2030"/>
                </a:lnTo>
                <a:lnTo>
                  <a:pt x="1314" y="2033"/>
                </a:lnTo>
                <a:lnTo>
                  <a:pt x="1308" y="2039"/>
                </a:lnTo>
                <a:lnTo>
                  <a:pt x="1301" y="2046"/>
                </a:lnTo>
                <a:lnTo>
                  <a:pt x="1295" y="2052"/>
                </a:lnTo>
                <a:lnTo>
                  <a:pt x="1289" y="2060"/>
                </a:lnTo>
                <a:lnTo>
                  <a:pt x="1285" y="2069"/>
                </a:lnTo>
                <a:lnTo>
                  <a:pt x="1280" y="2078"/>
                </a:lnTo>
                <a:lnTo>
                  <a:pt x="1277" y="2089"/>
                </a:lnTo>
                <a:lnTo>
                  <a:pt x="1275" y="2099"/>
                </a:lnTo>
                <a:lnTo>
                  <a:pt x="1273" y="2111"/>
                </a:lnTo>
                <a:lnTo>
                  <a:pt x="1271" y="2123"/>
                </a:lnTo>
                <a:lnTo>
                  <a:pt x="1271" y="2135"/>
                </a:lnTo>
                <a:lnTo>
                  <a:pt x="1271" y="2135"/>
                </a:lnTo>
                <a:lnTo>
                  <a:pt x="1271" y="2149"/>
                </a:lnTo>
                <a:lnTo>
                  <a:pt x="1273" y="2161"/>
                </a:lnTo>
                <a:lnTo>
                  <a:pt x="1275" y="2174"/>
                </a:lnTo>
                <a:lnTo>
                  <a:pt x="1277" y="2186"/>
                </a:lnTo>
                <a:lnTo>
                  <a:pt x="1280" y="2196"/>
                </a:lnTo>
                <a:lnTo>
                  <a:pt x="1285" y="2206"/>
                </a:lnTo>
                <a:lnTo>
                  <a:pt x="1289" y="2214"/>
                </a:lnTo>
                <a:lnTo>
                  <a:pt x="1295" y="2222"/>
                </a:lnTo>
                <a:lnTo>
                  <a:pt x="1300" y="2230"/>
                </a:lnTo>
                <a:lnTo>
                  <a:pt x="1307" y="2235"/>
                </a:lnTo>
                <a:lnTo>
                  <a:pt x="1313" y="2241"/>
                </a:lnTo>
                <a:lnTo>
                  <a:pt x="1321" y="2245"/>
                </a:lnTo>
                <a:lnTo>
                  <a:pt x="1330" y="2249"/>
                </a:lnTo>
                <a:lnTo>
                  <a:pt x="1339" y="2252"/>
                </a:lnTo>
                <a:lnTo>
                  <a:pt x="1348" y="2253"/>
                </a:lnTo>
                <a:lnTo>
                  <a:pt x="1357" y="2254"/>
                </a:lnTo>
                <a:lnTo>
                  <a:pt x="1357" y="2254"/>
                </a:lnTo>
                <a:lnTo>
                  <a:pt x="1364" y="2253"/>
                </a:lnTo>
                <a:lnTo>
                  <a:pt x="1372" y="2252"/>
                </a:lnTo>
                <a:lnTo>
                  <a:pt x="1378" y="2251"/>
                </a:lnTo>
                <a:lnTo>
                  <a:pt x="1385" y="2249"/>
                </a:lnTo>
                <a:lnTo>
                  <a:pt x="1391" y="2245"/>
                </a:lnTo>
                <a:lnTo>
                  <a:pt x="1397" y="2242"/>
                </a:lnTo>
                <a:lnTo>
                  <a:pt x="1403" y="2238"/>
                </a:lnTo>
                <a:lnTo>
                  <a:pt x="1408" y="2232"/>
                </a:lnTo>
                <a:lnTo>
                  <a:pt x="1408" y="2238"/>
                </a:lnTo>
                <a:lnTo>
                  <a:pt x="1408" y="2238"/>
                </a:lnTo>
                <a:lnTo>
                  <a:pt x="1408" y="2246"/>
                </a:lnTo>
                <a:lnTo>
                  <a:pt x="1407" y="2256"/>
                </a:lnTo>
                <a:lnTo>
                  <a:pt x="1404" y="2266"/>
                </a:lnTo>
                <a:lnTo>
                  <a:pt x="1402" y="2271"/>
                </a:lnTo>
                <a:lnTo>
                  <a:pt x="1399" y="2275"/>
                </a:lnTo>
                <a:lnTo>
                  <a:pt x="1395" y="2279"/>
                </a:lnTo>
                <a:lnTo>
                  <a:pt x="1391" y="2284"/>
                </a:lnTo>
                <a:lnTo>
                  <a:pt x="1385" y="2287"/>
                </a:lnTo>
                <a:lnTo>
                  <a:pt x="1378" y="2290"/>
                </a:lnTo>
                <a:lnTo>
                  <a:pt x="1370" y="2293"/>
                </a:lnTo>
                <a:lnTo>
                  <a:pt x="1361" y="2295"/>
                </a:lnTo>
                <a:lnTo>
                  <a:pt x="1350" y="2296"/>
                </a:lnTo>
                <a:lnTo>
                  <a:pt x="1337" y="2296"/>
                </a:lnTo>
                <a:lnTo>
                  <a:pt x="1334" y="2296"/>
                </a:lnTo>
                <a:lnTo>
                  <a:pt x="1354" y="2339"/>
                </a:lnTo>
                <a:lnTo>
                  <a:pt x="1355" y="2339"/>
                </a:lnTo>
                <a:lnTo>
                  <a:pt x="1355" y="2339"/>
                </a:lnTo>
                <a:lnTo>
                  <a:pt x="1369" y="2339"/>
                </a:lnTo>
                <a:lnTo>
                  <a:pt x="1381" y="2338"/>
                </a:lnTo>
                <a:lnTo>
                  <a:pt x="1392" y="2335"/>
                </a:lnTo>
                <a:lnTo>
                  <a:pt x="1403" y="2332"/>
                </a:lnTo>
                <a:lnTo>
                  <a:pt x="1413" y="2328"/>
                </a:lnTo>
                <a:lnTo>
                  <a:pt x="1421" y="2324"/>
                </a:lnTo>
                <a:lnTo>
                  <a:pt x="1429" y="2318"/>
                </a:lnTo>
                <a:lnTo>
                  <a:pt x="1436" y="2311"/>
                </a:lnTo>
                <a:lnTo>
                  <a:pt x="1442" y="2304"/>
                </a:lnTo>
                <a:lnTo>
                  <a:pt x="1448" y="2296"/>
                </a:lnTo>
                <a:lnTo>
                  <a:pt x="1452" y="2286"/>
                </a:lnTo>
                <a:lnTo>
                  <a:pt x="1456" y="2276"/>
                </a:lnTo>
                <a:lnTo>
                  <a:pt x="1459" y="2266"/>
                </a:lnTo>
                <a:lnTo>
                  <a:pt x="1461" y="2254"/>
                </a:lnTo>
                <a:lnTo>
                  <a:pt x="1462" y="2242"/>
                </a:lnTo>
                <a:lnTo>
                  <a:pt x="1462" y="2229"/>
                </a:lnTo>
                <a:lnTo>
                  <a:pt x="1462" y="2027"/>
                </a:lnTo>
                <a:lnTo>
                  <a:pt x="1408" y="2027"/>
                </a:lnTo>
                <a:lnTo>
                  <a:pt x="1408" y="2042"/>
                </a:lnTo>
                <a:close/>
                <a:moveTo>
                  <a:pt x="1408" y="2094"/>
                </a:moveTo>
                <a:lnTo>
                  <a:pt x="1408" y="2181"/>
                </a:lnTo>
                <a:lnTo>
                  <a:pt x="1408" y="2181"/>
                </a:lnTo>
                <a:lnTo>
                  <a:pt x="1401" y="2189"/>
                </a:lnTo>
                <a:lnTo>
                  <a:pt x="1393" y="2197"/>
                </a:lnTo>
                <a:lnTo>
                  <a:pt x="1387" y="2199"/>
                </a:lnTo>
                <a:lnTo>
                  <a:pt x="1382" y="2201"/>
                </a:lnTo>
                <a:lnTo>
                  <a:pt x="1376" y="2202"/>
                </a:lnTo>
                <a:lnTo>
                  <a:pt x="1369" y="2203"/>
                </a:lnTo>
                <a:lnTo>
                  <a:pt x="1369" y="2203"/>
                </a:lnTo>
                <a:lnTo>
                  <a:pt x="1362" y="2202"/>
                </a:lnTo>
                <a:lnTo>
                  <a:pt x="1354" y="2200"/>
                </a:lnTo>
                <a:lnTo>
                  <a:pt x="1348" y="2197"/>
                </a:lnTo>
                <a:lnTo>
                  <a:pt x="1341" y="2190"/>
                </a:lnTo>
                <a:lnTo>
                  <a:pt x="1335" y="2181"/>
                </a:lnTo>
                <a:lnTo>
                  <a:pt x="1331" y="2169"/>
                </a:lnTo>
                <a:lnTo>
                  <a:pt x="1329" y="2154"/>
                </a:lnTo>
                <a:lnTo>
                  <a:pt x="1328" y="2134"/>
                </a:lnTo>
                <a:lnTo>
                  <a:pt x="1328" y="2134"/>
                </a:lnTo>
                <a:lnTo>
                  <a:pt x="1329" y="2117"/>
                </a:lnTo>
                <a:lnTo>
                  <a:pt x="1331" y="2103"/>
                </a:lnTo>
                <a:lnTo>
                  <a:pt x="1335" y="2092"/>
                </a:lnTo>
                <a:lnTo>
                  <a:pt x="1341" y="2084"/>
                </a:lnTo>
                <a:lnTo>
                  <a:pt x="1348" y="2079"/>
                </a:lnTo>
                <a:lnTo>
                  <a:pt x="1354" y="2074"/>
                </a:lnTo>
                <a:lnTo>
                  <a:pt x="1362" y="2073"/>
                </a:lnTo>
                <a:lnTo>
                  <a:pt x="1369" y="2072"/>
                </a:lnTo>
                <a:lnTo>
                  <a:pt x="1369" y="2072"/>
                </a:lnTo>
                <a:lnTo>
                  <a:pt x="1376" y="2073"/>
                </a:lnTo>
                <a:lnTo>
                  <a:pt x="1383" y="2074"/>
                </a:lnTo>
                <a:lnTo>
                  <a:pt x="1388" y="2076"/>
                </a:lnTo>
                <a:lnTo>
                  <a:pt x="1394" y="2080"/>
                </a:lnTo>
                <a:lnTo>
                  <a:pt x="1398" y="2083"/>
                </a:lnTo>
                <a:lnTo>
                  <a:pt x="1402" y="2086"/>
                </a:lnTo>
                <a:lnTo>
                  <a:pt x="1408" y="2094"/>
                </a:lnTo>
                <a:lnTo>
                  <a:pt x="1408" y="2094"/>
                </a:lnTo>
                <a:close/>
                <a:moveTo>
                  <a:pt x="938" y="2027"/>
                </a:moveTo>
                <a:lnTo>
                  <a:pt x="993" y="2027"/>
                </a:lnTo>
                <a:lnTo>
                  <a:pt x="993" y="2123"/>
                </a:lnTo>
                <a:lnTo>
                  <a:pt x="993" y="2249"/>
                </a:lnTo>
                <a:lnTo>
                  <a:pt x="938" y="2249"/>
                </a:lnTo>
                <a:lnTo>
                  <a:pt x="938" y="2027"/>
                </a:lnTo>
                <a:close/>
                <a:moveTo>
                  <a:pt x="993" y="1967"/>
                </a:moveTo>
                <a:lnTo>
                  <a:pt x="993" y="1995"/>
                </a:lnTo>
                <a:lnTo>
                  <a:pt x="938" y="1995"/>
                </a:lnTo>
                <a:lnTo>
                  <a:pt x="938" y="1940"/>
                </a:lnTo>
                <a:lnTo>
                  <a:pt x="993" y="1940"/>
                </a:lnTo>
                <a:lnTo>
                  <a:pt x="993" y="1967"/>
                </a:lnTo>
                <a:close/>
                <a:moveTo>
                  <a:pt x="2309" y="1962"/>
                </a:moveTo>
                <a:lnTo>
                  <a:pt x="2364" y="1934"/>
                </a:lnTo>
                <a:lnTo>
                  <a:pt x="2364" y="2127"/>
                </a:lnTo>
                <a:lnTo>
                  <a:pt x="2364" y="2249"/>
                </a:lnTo>
                <a:lnTo>
                  <a:pt x="2309" y="2249"/>
                </a:lnTo>
                <a:lnTo>
                  <a:pt x="2309" y="1962"/>
                </a:lnTo>
                <a:close/>
                <a:moveTo>
                  <a:pt x="397" y="757"/>
                </a:moveTo>
                <a:lnTo>
                  <a:pt x="850" y="757"/>
                </a:lnTo>
                <a:lnTo>
                  <a:pt x="850" y="495"/>
                </a:lnTo>
                <a:lnTo>
                  <a:pt x="397" y="495"/>
                </a:lnTo>
                <a:lnTo>
                  <a:pt x="397" y="288"/>
                </a:lnTo>
                <a:lnTo>
                  <a:pt x="898" y="288"/>
                </a:lnTo>
                <a:lnTo>
                  <a:pt x="732" y="0"/>
                </a:lnTo>
                <a:lnTo>
                  <a:pt x="22" y="0"/>
                </a:lnTo>
                <a:lnTo>
                  <a:pt x="22" y="1251"/>
                </a:lnTo>
                <a:lnTo>
                  <a:pt x="1023" y="1251"/>
                </a:lnTo>
                <a:lnTo>
                  <a:pt x="1023" y="963"/>
                </a:lnTo>
                <a:lnTo>
                  <a:pt x="397" y="963"/>
                </a:lnTo>
                <a:lnTo>
                  <a:pt x="397" y="757"/>
                </a:lnTo>
                <a:close/>
                <a:moveTo>
                  <a:pt x="1690" y="0"/>
                </a:moveTo>
                <a:lnTo>
                  <a:pt x="1477" y="409"/>
                </a:lnTo>
                <a:lnTo>
                  <a:pt x="1265" y="0"/>
                </a:lnTo>
                <a:lnTo>
                  <a:pt x="850" y="0"/>
                </a:lnTo>
                <a:lnTo>
                  <a:pt x="1287" y="757"/>
                </a:lnTo>
                <a:lnTo>
                  <a:pt x="1287" y="1251"/>
                </a:lnTo>
                <a:lnTo>
                  <a:pt x="1661" y="1251"/>
                </a:lnTo>
                <a:lnTo>
                  <a:pt x="1661" y="757"/>
                </a:lnTo>
                <a:lnTo>
                  <a:pt x="2099" y="0"/>
                </a:lnTo>
                <a:lnTo>
                  <a:pt x="169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1959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5191F6F-994B-4ED6-83F0-8243A32B2B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200" t="21551" r="19301" b="11950"/>
          <a:stretch/>
        </p:blipFill>
        <p:spPr>
          <a:xfrm flipH="1">
            <a:off x="-2" y="1"/>
            <a:ext cx="12198349" cy="6858000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D19659BD-653C-4300-9060-420AFAE39587}"/>
              </a:ext>
            </a:extLst>
          </p:cNvPr>
          <p:cNvSpPr>
            <a:spLocks/>
          </p:cNvSpPr>
          <p:nvPr userDrawn="1"/>
        </p:nvSpPr>
        <p:spPr bwMode="auto">
          <a:xfrm>
            <a:off x="10364788" y="4960938"/>
            <a:ext cx="982663" cy="358775"/>
          </a:xfrm>
          <a:custGeom>
            <a:avLst/>
            <a:gdLst>
              <a:gd name="T0" fmla="*/ 2473 w 2473"/>
              <a:gd name="T1" fmla="*/ 0 h 902"/>
              <a:gd name="T2" fmla="*/ 0 w 2473"/>
              <a:gd name="T3" fmla="*/ 902 h 902"/>
              <a:gd name="T4" fmla="*/ 2473 w 2473"/>
              <a:gd name="T5" fmla="*/ 466 h 902"/>
              <a:gd name="T6" fmla="*/ 2473 w 2473"/>
              <a:gd name="T7" fmla="*/ 0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73" h="902">
                <a:moveTo>
                  <a:pt x="2473" y="0"/>
                </a:moveTo>
                <a:lnTo>
                  <a:pt x="0" y="902"/>
                </a:lnTo>
                <a:lnTo>
                  <a:pt x="2473" y="466"/>
                </a:lnTo>
                <a:lnTo>
                  <a:pt x="247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7" name="Freeform 6">
            <a:extLst>
              <a:ext uri="{FF2B5EF4-FFF2-40B4-BE49-F238E27FC236}">
                <a16:creationId xmlns:a16="http://schemas.microsoft.com/office/drawing/2014/main" id="{A4669336-72A1-4233-827A-C41AB4C1CC0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64788" y="5467351"/>
            <a:ext cx="1225550" cy="928688"/>
          </a:xfrm>
          <a:custGeom>
            <a:avLst/>
            <a:gdLst>
              <a:gd name="T0" fmla="*/ 233 w 3088"/>
              <a:gd name="T1" fmla="*/ 1588 h 2339"/>
              <a:gd name="T2" fmla="*/ 253 w 3088"/>
              <a:gd name="T3" fmla="*/ 1795 h 2339"/>
              <a:gd name="T4" fmla="*/ 151 w 3088"/>
              <a:gd name="T5" fmla="*/ 1810 h 2339"/>
              <a:gd name="T6" fmla="*/ 351 w 3088"/>
              <a:gd name="T7" fmla="*/ 1761 h 2339"/>
              <a:gd name="T8" fmla="*/ 416 w 3088"/>
              <a:gd name="T9" fmla="*/ 1857 h 2339"/>
              <a:gd name="T10" fmla="*/ 1140 w 3088"/>
              <a:gd name="T11" fmla="*/ 1652 h 2339"/>
              <a:gd name="T12" fmla="*/ 1216 w 3088"/>
              <a:gd name="T13" fmla="*/ 1738 h 2339"/>
              <a:gd name="T14" fmla="*/ 696 w 3088"/>
              <a:gd name="T15" fmla="*/ 1546 h 2339"/>
              <a:gd name="T16" fmla="*/ 738 w 3088"/>
              <a:gd name="T17" fmla="*/ 1710 h 2339"/>
              <a:gd name="T18" fmla="*/ 860 w 3088"/>
              <a:gd name="T19" fmla="*/ 1854 h 2339"/>
              <a:gd name="T20" fmla="*/ 832 w 3088"/>
              <a:gd name="T21" fmla="*/ 1684 h 2339"/>
              <a:gd name="T22" fmla="*/ 2021 w 3088"/>
              <a:gd name="T23" fmla="*/ 1860 h 2339"/>
              <a:gd name="T24" fmla="*/ 2158 w 3088"/>
              <a:gd name="T25" fmla="*/ 1747 h 2339"/>
              <a:gd name="T26" fmla="*/ 2100 w 3088"/>
              <a:gd name="T27" fmla="*/ 1730 h 2339"/>
              <a:gd name="T28" fmla="*/ 2059 w 3088"/>
              <a:gd name="T29" fmla="*/ 1684 h 2339"/>
              <a:gd name="T30" fmla="*/ 1309 w 3088"/>
              <a:gd name="T31" fmla="*/ 1734 h 2339"/>
              <a:gd name="T32" fmla="*/ 1445 w 3088"/>
              <a:gd name="T33" fmla="*/ 1844 h 2339"/>
              <a:gd name="T34" fmla="*/ 1473 w 3088"/>
              <a:gd name="T35" fmla="*/ 1923 h 2339"/>
              <a:gd name="T36" fmla="*/ 1369 w 3088"/>
              <a:gd name="T37" fmla="*/ 1781 h 2339"/>
              <a:gd name="T38" fmla="*/ 1727 w 3088"/>
              <a:gd name="T39" fmla="*/ 1677 h 2339"/>
              <a:gd name="T40" fmla="*/ 1632 w 3088"/>
              <a:gd name="T41" fmla="*/ 1778 h 2339"/>
              <a:gd name="T42" fmla="*/ 1822 w 3088"/>
              <a:gd name="T43" fmla="*/ 1710 h 2339"/>
              <a:gd name="T44" fmla="*/ 1686 w 3088"/>
              <a:gd name="T45" fmla="*/ 1786 h 2339"/>
              <a:gd name="T46" fmla="*/ 1708 w 3088"/>
              <a:gd name="T47" fmla="*/ 1817 h 2339"/>
              <a:gd name="T48" fmla="*/ 2240 w 3088"/>
              <a:gd name="T49" fmla="*/ 1766 h 2339"/>
              <a:gd name="T50" fmla="*/ 2227 w 3088"/>
              <a:gd name="T51" fmla="*/ 1653 h 2339"/>
              <a:gd name="T52" fmla="*/ 2290 w 3088"/>
              <a:gd name="T53" fmla="*/ 1866 h 2339"/>
              <a:gd name="T54" fmla="*/ 2321 w 3088"/>
              <a:gd name="T55" fmla="*/ 1709 h 2339"/>
              <a:gd name="T56" fmla="*/ 2908 w 3088"/>
              <a:gd name="T57" fmla="*/ 1750 h 2339"/>
              <a:gd name="T58" fmla="*/ 2730 w 3088"/>
              <a:gd name="T59" fmla="*/ 1683 h 2339"/>
              <a:gd name="T60" fmla="*/ 2852 w 3088"/>
              <a:gd name="T61" fmla="*/ 1860 h 2339"/>
              <a:gd name="T62" fmla="*/ 2639 w 3088"/>
              <a:gd name="T63" fmla="*/ 1783 h 2339"/>
              <a:gd name="T64" fmla="*/ 2605 w 3088"/>
              <a:gd name="T65" fmla="*/ 1853 h 2339"/>
              <a:gd name="T66" fmla="*/ 2464 w 3088"/>
              <a:gd name="T67" fmla="*/ 1861 h 2339"/>
              <a:gd name="T68" fmla="*/ 2495 w 3088"/>
              <a:gd name="T69" fmla="*/ 1812 h 2339"/>
              <a:gd name="T70" fmla="*/ 2998 w 3088"/>
              <a:gd name="T71" fmla="*/ 1639 h 2339"/>
              <a:gd name="T72" fmla="*/ 975 w 3088"/>
              <a:gd name="T73" fmla="*/ 1860 h 2339"/>
              <a:gd name="T74" fmla="*/ 2416 w 3088"/>
              <a:gd name="T75" fmla="*/ 2069 h 2339"/>
              <a:gd name="T76" fmla="*/ 2510 w 3088"/>
              <a:gd name="T77" fmla="*/ 2251 h 2339"/>
              <a:gd name="T78" fmla="*/ 2485 w 3088"/>
              <a:gd name="T79" fmla="*/ 2074 h 2339"/>
              <a:gd name="T80" fmla="*/ 627 w 3088"/>
              <a:gd name="T81" fmla="*/ 2078 h 2339"/>
              <a:gd name="T82" fmla="*/ 672 w 3088"/>
              <a:gd name="T83" fmla="*/ 2089 h 2339"/>
              <a:gd name="T84" fmla="*/ 202 w 3088"/>
              <a:gd name="T85" fmla="*/ 2135 h 2339"/>
              <a:gd name="T86" fmla="*/ 310 w 3088"/>
              <a:gd name="T87" fmla="*/ 2174 h 2339"/>
              <a:gd name="T88" fmla="*/ 503 w 3088"/>
              <a:gd name="T89" fmla="*/ 2174 h 2339"/>
              <a:gd name="T90" fmla="*/ 374 w 3088"/>
              <a:gd name="T91" fmla="*/ 2185 h 2339"/>
              <a:gd name="T92" fmla="*/ 439 w 3088"/>
              <a:gd name="T93" fmla="*/ 2185 h 2339"/>
              <a:gd name="T94" fmla="*/ 2197 w 3088"/>
              <a:gd name="T95" fmla="*/ 2040 h 2339"/>
              <a:gd name="T96" fmla="*/ 1597 w 3088"/>
              <a:gd name="T97" fmla="*/ 2027 h 2339"/>
              <a:gd name="T98" fmla="*/ 1937 w 3088"/>
              <a:gd name="T99" fmla="*/ 2047 h 2339"/>
              <a:gd name="T100" fmla="*/ 2002 w 3088"/>
              <a:gd name="T101" fmla="*/ 2254 h 2339"/>
              <a:gd name="T102" fmla="*/ 2061 w 3088"/>
              <a:gd name="T103" fmla="*/ 2041 h 2339"/>
              <a:gd name="T104" fmla="*/ 2002 w 3088"/>
              <a:gd name="T105" fmla="*/ 2073 h 2339"/>
              <a:gd name="T106" fmla="*/ 767 w 3088"/>
              <a:gd name="T107" fmla="*/ 1934 h 2339"/>
              <a:gd name="T108" fmla="*/ 1202 w 3088"/>
              <a:gd name="T109" fmla="*/ 2037 h 2339"/>
              <a:gd name="T110" fmla="*/ 1108 w 3088"/>
              <a:gd name="T111" fmla="*/ 2086 h 2339"/>
              <a:gd name="T112" fmla="*/ 1280 w 3088"/>
              <a:gd name="T113" fmla="*/ 2078 h 2339"/>
              <a:gd name="T114" fmla="*/ 1385 w 3088"/>
              <a:gd name="T115" fmla="*/ 2249 h 2339"/>
              <a:gd name="T116" fmla="*/ 1403 w 3088"/>
              <a:gd name="T117" fmla="*/ 2332 h 2339"/>
              <a:gd name="T118" fmla="*/ 1354 w 3088"/>
              <a:gd name="T119" fmla="*/ 2200 h 2339"/>
              <a:gd name="T120" fmla="*/ 993 w 3088"/>
              <a:gd name="T121" fmla="*/ 2123 h 2339"/>
              <a:gd name="T122" fmla="*/ 397 w 3088"/>
              <a:gd name="T123" fmla="*/ 963 h 2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088" h="2339">
                <a:moveTo>
                  <a:pt x="257" y="1763"/>
                </a:moveTo>
                <a:lnTo>
                  <a:pt x="257" y="1763"/>
                </a:lnTo>
                <a:lnTo>
                  <a:pt x="257" y="1755"/>
                </a:lnTo>
                <a:lnTo>
                  <a:pt x="256" y="1749"/>
                </a:lnTo>
                <a:lnTo>
                  <a:pt x="253" y="1736"/>
                </a:lnTo>
                <a:lnTo>
                  <a:pt x="247" y="1725"/>
                </a:lnTo>
                <a:lnTo>
                  <a:pt x="241" y="1716"/>
                </a:lnTo>
                <a:lnTo>
                  <a:pt x="233" y="1709"/>
                </a:lnTo>
                <a:lnTo>
                  <a:pt x="225" y="1704"/>
                </a:lnTo>
                <a:lnTo>
                  <a:pt x="219" y="1699"/>
                </a:lnTo>
                <a:lnTo>
                  <a:pt x="212" y="1696"/>
                </a:lnTo>
                <a:lnTo>
                  <a:pt x="212" y="1696"/>
                </a:lnTo>
                <a:lnTo>
                  <a:pt x="220" y="1690"/>
                </a:lnTo>
                <a:lnTo>
                  <a:pt x="226" y="1685"/>
                </a:lnTo>
                <a:lnTo>
                  <a:pt x="232" y="1678"/>
                </a:lnTo>
                <a:lnTo>
                  <a:pt x="237" y="1671"/>
                </a:lnTo>
                <a:lnTo>
                  <a:pt x="242" y="1663"/>
                </a:lnTo>
                <a:lnTo>
                  <a:pt x="244" y="1654"/>
                </a:lnTo>
                <a:lnTo>
                  <a:pt x="246" y="1645"/>
                </a:lnTo>
                <a:lnTo>
                  <a:pt x="246" y="1635"/>
                </a:lnTo>
                <a:lnTo>
                  <a:pt x="246" y="1635"/>
                </a:lnTo>
                <a:lnTo>
                  <a:pt x="246" y="1626"/>
                </a:lnTo>
                <a:lnTo>
                  <a:pt x="245" y="1618"/>
                </a:lnTo>
                <a:lnTo>
                  <a:pt x="243" y="1610"/>
                </a:lnTo>
                <a:lnTo>
                  <a:pt x="241" y="1602"/>
                </a:lnTo>
                <a:lnTo>
                  <a:pt x="237" y="1594"/>
                </a:lnTo>
                <a:lnTo>
                  <a:pt x="233" y="1588"/>
                </a:lnTo>
                <a:lnTo>
                  <a:pt x="227" y="1582"/>
                </a:lnTo>
                <a:lnTo>
                  <a:pt x="222" y="1577"/>
                </a:lnTo>
                <a:lnTo>
                  <a:pt x="215" y="1572"/>
                </a:lnTo>
                <a:lnTo>
                  <a:pt x="209" y="1568"/>
                </a:lnTo>
                <a:lnTo>
                  <a:pt x="201" y="1565"/>
                </a:lnTo>
                <a:lnTo>
                  <a:pt x="192" y="1561"/>
                </a:lnTo>
                <a:lnTo>
                  <a:pt x="183" y="1559"/>
                </a:lnTo>
                <a:lnTo>
                  <a:pt x="173" y="1557"/>
                </a:lnTo>
                <a:lnTo>
                  <a:pt x="163" y="1557"/>
                </a:lnTo>
                <a:lnTo>
                  <a:pt x="152" y="1556"/>
                </a:lnTo>
                <a:lnTo>
                  <a:pt x="22" y="1556"/>
                </a:lnTo>
                <a:lnTo>
                  <a:pt x="22" y="1860"/>
                </a:lnTo>
                <a:lnTo>
                  <a:pt x="151" y="1860"/>
                </a:lnTo>
                <a:lnTo>
                  <a:pt x="151" y="1860"/>
                </a:lnTo>
                <a:lnTo>
                  <a:pt x="163" y="1860"/>
                </a:lnTo>
                <a:lnTo>
                  <a:pt x="174" y="1859"/>
                </a:lnTo>
                <a:lnTo>
                  <a:pt x="185" y="1857"/>
                </a:lnTo>
                <a:lnTo>
                  <a:pt x="195" y="1854"/>
                </a:lnTo>
                <a:lnTo>
                  <a:pt x="205" y="1850"/>
                </a:lnTo>
                <a:lnTo>
                  <a:pt x="214" y="1846"/>
                </a:lnTo>
                <a:lnTo>
                  <a:pt x="222" y="1840"/>
                </a:lnTo>
                <a:lnTo>
                  <a:pt x="228" y="1835"/>
                </a:lnTo>
                <a:lnTo>
                  <a:pt x="235" y="1828"/>
                </a:lnTo>
                <a:lnTo>
                  <a:pt x="241" y="1821"/>
                </a:lnTo>
                <a:lnTo>
                  <a:pt x="246" y="1813"/>
                </a:lnTo>
                <a:lnTo>
                  <a:pt x="249" y="1804"/>
                </a:lnTo>
                <a:lnTo>
                  <a:pt x="253" y="1795"/>
                </a:lnTo>
                <a:lnTo>
                  <a:pt x="255" y="1785"/>
                </a:lnTo>
                <a:lnTo>
                  <a:pt x="256" y="1774"/>
                </a:lnTo>
                <a:lnTo>
                  <a:pt x="257" y="1763"/>
                </a:lnTo>
                <a:lnTo>
                  <a:pt x="257" y="1763"/>
                </a:lnTo>
                <a:close/>
                <a:moveTo>
                  <a:pt x="151" y="1810"/>
                </a:moveTo>
                <a:lnTo>
                  <a:pt x="78" y="1810"/>
                </a:lnTo>
                <a:lnTo>
                  <a:pt x="78" y="1722"/>
                </a:lnTo>
                <a:lnTo>
                  <a:pt x="151" y="1722"/>
                </a:lnTo>
                <a:lnTo>
                  <a:pt x="151" y="1722"/>
                </a:lnTo>
                <a:lnTo>
                  <a:pt x="162" y="1723"/>
                </a:lnTo>
                <a:lnTo>
                  <a:pt x="171" y="1725"/>
                </a:lnTo>
                <a:lnTo>
                  <a:pt x="179" y="1728"/>
                </a:lnTo>
                <a:lnTo>
                  <a:pt x="185" y="1733"/>
                </a:lnTo>
                <a:lnTo>
                  <a:pt x="191" y="1739"/>
                </a:lnTo>
                <a:lnTo>
                  <a:pt x="194" y="1747"/>
                </a:lnTo>
                <a:lnTo>
                  <a:pt x="196" y="1755"/>
                </a:lnTo>
                <a:lnTo>
                  <a:pt x="198" y="1765"/>
                </a:lnTo>
                <a:lnTo>
                  <a:pt x="198" y="1765"/>
                </a:lnTo>
                <a:lnTo>
                  <a:pt x="196" y="1775"/>
                </a:lnTo>
                <a:lnTo>
                  <a:pt x="194" y="1784"/>
                </a:lnTo>
                <a:lnTo>
                  <a:pt x="190" y="1792"/>
                </a:lnTo>
                <a:lnTo>
                  <a:pt x="185" y="1797"/>
                </a:lnTo>
                <a:lnTo>
                  <a:pt x="179" y="1803"/>
                </a:lnTo>
                <a:lnTo>
                  <a:pt x="171" y="1806"/>
                </a:lnTo>
                <a:lnTo>
                  <a:pt x="161" y="1808"/>
                </a:lnTo>
                <a:lnTo>
                  <a:pt x="151" y="1810"/>
                </a:lnTo>
                <a:lnTo>
                  <a:pt x="151" y="1810"/>
                </a:lnTo>
                <a:close/>
                <a:moveTo>
                  <a:pt x="150" y="1673"/>
                </a:moveTo>
                <a:lnTo>
                  <a:pt x="78" y="1673"/>
                </a:lnTo>
                <a:lnTo>
                  <a:pt x="78" y="1608"/>
                </a:lnTo>
                <a:lnTo>
                  <a:pt x="148" y="1608"/>
                </a:lnTo>
                <a:lnTo>
                  <a:pt x="148" y="1608"/>
                </a:lnTo>
                <a:lnTo>
                  <a:pt x="157" y="1609"/>
                </a:lnTo>
                <a:lnTo>
                  <a:pt x="166" y="1610"/>
                </a:lnTo>
                <a:lnTo>
                  <a:pt x="172" y="1612"/>
                </a:lnTo>
                <a:lnTo>
                  <a:pt x="178" y="1615"/>
                </a:lnTo>
                <a:lnTo>
                  <a:pt x="182" y="1621"/>
                </a:lnTo>
                <a:lnTo>
                  <a:pt x="185" y="1626"/>
                </a:lnTo>
                <a:lnTo>
                  <a:pt x="187" y="1633"/>
                </a:lnTo>
                <a:lnTo>
                  <a:pt x="188" y="1641"/>
                </a:lnTo>
                <a:lnTo>
                  <a:pt x="188" y="1641"/>
                </a:lnTo>
                <a:lnTo>
                  <a:pt x="188" y="1646"/>
                </a:lnTo>
                <a:lnTo>
                  <a:pt x="187" y="1652"/>
                </a:lnTo>
                <a:lnTo>
                  <a:pt x="184" y="1657"/>
                </a:lnTo>
                <a:lnTo>
                  <a:pt x="181" y="1662"/>
                </a:lnTo>
                <a:lnTo>
                  <a:pt x="175" y="1666"/>
                </a:lnTo>
                <a:lnTo>
                  <a:pt x="169" y="1669"/>
                </a:lnTo>
                <a:lnTo>
                  <a:pt x="161" y="1672"/>
                </a:lnTo>
                <a:lnTo>
                  <a:pt x="150" y="1673"/>
                </a:lnTo>
                <a:lnTo>
                  <a:pt x="150" y="1673"/>
                </a:lnTo>
                <a:close/>
                <a:moveTo>
                  <a:pt x="296" y="1764"/>
                </a:moveTo>
                <a:lnTo>
                  <a:pt x="296" y="1639"/>
                </a:lnTo>
                <a:lnTo>
                  <a:pt x="351" y="1639"/>
                </a:lnTo>
                <a:lnTo>
                  <a:pt x="351" y="1761"/>
                </a:lnTo>
                <a:lnTo>
                  <a:pt x="351" y="1761"/>
                </a:lnTo>
                <a:lnTo>
                  <a:pt x="351" y="1773"/>
                </a:lnTo>
                <a:lnTo>
                  <a:pt x="353" y="1785"/>
                </a:lnTo>
                <a:lnTo>
                  <a:pt x="356" y="1794"/>
                </a:lnTo>
                <a:lnTo>
                  <a:pt x="361" y="1802"/>
                </a:lnTo>
                <a:lnTo>
                  <a:pt x="366" y="1807"/>
                </a:lnTo>
                <a:lnTo>
                  <a:pt x="373" y="1812"/>
                </a:lnTo>
                <a:lnTo>
                  <a:pt x="382" y="1814"/>
                </a:lnTo>
                <a:lnTo>
                  <a:pt x="392" y="1815"/>
                </a:lnTo>
                <a:lnTo>
                  <a:pt x="392" y="1815"/>
                </a:lnTo>
                <a:lnTo>
                  <a:pt x="402" y="1814"/>
                </a:lnTo>
                <a:lnTo>
                  <a:pt x="409" y="1812"/>
                </a:lnTo>
                <a:lnTo>
                  <a:pt x="417" y="1807"/>
                </a:lnTo>
                <a:lnTo>
                  <a:pt x="423" y="1802"/>
                </a:lnTo>
                <a:lnTo>
                  <a:pt x="427" y="1794"/>
                </a:lnTo>
                <a:lnTo>
                  <a:pt x="430" y="1784"/>
                </a:lnTo>
                <a:lnTo>
                  <a:pt x="433" y="1773"/>
                </a:lnTo>
                <a:lnTo>
                  <a:pt x="433" y="1761"/>
                </a:lnTo>
                <a:lnTo>
                  <a:pt x="433" y="1639"/>
                </a:lnTo>
                <a:lnTo>
                  <a:pt x="488" y="1639"/>
                </a:lnTo>
                <a:lnTo>
                  <a:pt x="488" y="1860"/>
                </a:lnTo>
                <a:lnTo>
                  <a:pt x="433" y="1860"/>
                </a:lnTo>
                <a:lnTo>
                  <a:pt x="433" y="1843"/>
                </a:lnTo>
                <a:lnTo>
                  <a:pt x="433" y="1843"/>
                </a:lnTo>
                <a:lnTo>
                  <a:pt x="428" y="1848"/>
                </a:lnTo>
                <a:lnTo>
                  <a:pt x="422" y="1853"/>
                </a:lnTo>
                <a:lnTo>
                  <a:pt x="416" y="1857"/>
                </a:lnTo>
                <a:lnTo>
                  <a:pt x="409" y="1859"/>
                </a:lnTo>
                <a:lnTo>
                  <a:pt x="403" y="1862"/>
                </a:lnTo>
                <a:lnTo>
                  <a:pt x="395" y="1864"/>
                </a:lnTo>
                <a:lnTo>
                  <a:pt x="387" y="1865"/>
                </a:lnTo>
                <a:lnTo>
                  <a:pt x="380" y="1866"/>
                </a:lnTo>
                <a:lnTo>
                  <a:pt x="380" y="1866"/>
                </a:lnTo>
                <a:lnTo>
                  <a:pt x="366" y="1865"/>
                </a:lnTo>
                <a:lnTo>
                  <a:pt x="355" y="1862"/>
                </a:lnTo>
                <a:lnTo>
                  <a:pt x="345" y="1859"/>
                </a:lnTo>
                <a:lnTo>
                  <a:pt x="336" y="1855"/>
                </a:lnTo>
                <a:lnTo>
                  <a:pt x="328" y="1849"/>
                </a:lnTo>
                <a:lnTo>
                  <a:pt x="321" y="1844"/>
                </a:lnTo>
                <a:lnTo>
                  <a:pt x="316" y="1836"/>
                </a:lnTo>
                <a:lnTo>
                  <a:pt x="310" y="1828"/>
                </a:lnTo>
                <a:lnTo>
                  <a:pt x="307" y="1821"/>
                </a:lnTo>
                <a:lnTo>
                  <a:pt x="304" y="1813"/>
                </a:lnTo>
                <a:lnTo>
                  <a:pt x="299" y="1795"/>
                </a:lnTo>
                <a:lnTo>
                  <a:pt x="297" y="1779"/>
                </a:lnTo>
                <a:lnTo>
                  <a:pt x="296" y="1764"/>
                </a:lnTo>
                <a:lnTo>
                  <a:pt x="296" y="1764"/>
                </a:lnTo>
                <a:close/>
                <a:moveTo>
                  <a:pt x="1135" y="1860"/>
                </a:moveTo>
                <a:lnTo>
                  <a:pt x="1079" y="1860"/>
                </a:lnTo>
                <a:lnTo>
                  <a:pt x="1079" y="1639"/>
                </a:lnTo>
                <a:lnTo>
                  <a:pt x="1135" y="1639"/>
                </a:lnTo>
                <a:lnTo>
                  <a:pt x="1135" y="1657"/>
                </a:lnTo>
                <a:lnTo>
                  <a:pt x="1135" y="1657"/>
                </a:lnTo>
                <a:lnTo>
                  <a:pt x="1140" y="1652"/>
                </a:lnTo>
                <a:lnTo>
                  <a:pt x="1146" y="1646"/>
                </a:lnTo>
                <a:lnTo>
                  <a:pt x="1152" y="1643"/>
                </a:lnTo>
                <a:lnTo>
                  <a:pt x="1159" y="1640"/>
                </a:lnTo>
                <a:lnTo>
                  <a:pt x="1167" y="1636"/>
                </a:lnTo>
                <a:lnTo>
                  <a:pt x="1173" y="1635"/>
                </a:lnTo>
                <a:lnTo>
                  <a:pt x="1182" y="1634"/>
                </a:lnTo>
                <a:lnTo>
                  <a:pt x="1190" y="1633"/>
                </a:lnTo>
                <a:lnTo>
                  <a:pt x="1190" y="1633"/>
                </a:lnTo>
                <a:lnTo>
                  <a:pt x="1200" y="1634"/>
                </a:lnTo>
                <a:lnTo>
                  <a:pt x="1208" y="1635"/>
                </a:lnTo>
                <a:lnTo>
                  <a:pt x="1217" y="1637"/>
                </a:lnTo>
                <a:lnTo>
                  <a:pt x="1225" y="1640"/>
                </a:lnTo>
                <a:lnTo>
                  <a:pt x="1233" y="1643"/>
                </a:lnTo>
                <a:lnTo>
                  <a:pt x="1239" y="1648"/>
                </a:lnTo>
                <a:lnTo>
                  <a:pt x="1245" y="1653"/>
                </a:lnTo>
                <a:lnTo>
                  <a:pt x="1250" y="1659"/>
                </a:lnTo>
                <a:lnTo>
                  <a:pt x="1256" y="1666"/>
                </a:lnTo>
                <a:lnTo>
                  <a:pt x="1259" y="1674"/>
                </a:lnTo>
                <a:lnTo>
                  <a:pt x="1264" y="1682"/>
                </a:lnTo>
                <a:lnTo>
                  <a:pt x="1266" y="1690"/>
                </a:lnTo>
                <a:lnTo>
                  <a:pt x="1268" y="1700"/>
                </a:lnTo>
                <a:lnTo>
                  <a:pt x="1270" y="1711"/>
                </a:lnTo>
                <a:lnTo>
                  <a:pt x="1271" y="1722"/>
                </a:lnTo>
                <a:lnTo>
                  <a:pt x="1271" y="1734"/>
                </a:lnTo>
                <a:lnTo>
                  <a:pt x="1271" y="1860"/>
                </a:lnTo>
                <a:lnTo>
                  <a:pt x="1216" y="1860"/>
                </a:lnTo>
                <a:lnTo>
                  <a:pt x="1216" y="1738"/>
                </a:lnTo>
                <a:lnTo>
                  <a:pt x="1216" y="1738"/>
                </a:lnTo>
                <a:lnTo>
                  <a:pt x="1216" y="1725"/>
                </a:lnTo>
                <a:lnTo>
                  <a:pt x="1214" y="1714"/>
                </a:lnTo>
                <a:lnTo>
                  <a:pt x="1211" y="1705"/>
                </a:lnTo>
                <a:lnTo>
                  <a:pt x="1206" y="1697"/>
                </a:lnTo>
                <a:lnTo>
                  <a:pt x="1201" y="1691"/>
                </a:lnTo>
                <a:lnTo>
                  <a:pt x="1194" y="1687"/>
                </a:lnTo>
                <a:lnTo>
                  <a:pt x="1186" y="1685"/>
                </a:lnTo>
                <a:lnTo>
                  <a:pt x="1176" y="1684"/>
                </a:lnTo>
                <a:lnTo>
                  <a:pt x="1176" y="1684"/>
                </a:lnTo>
                <a:lnTo>
                  <a:pt x="1167" y="1685"/>
                </a:lnTo>
                <a:lnTo>
                  <a:pt x="1158" y="1687"/>
                </a:lnTo>
                <a:lnTo>
                  <a:pt x="1151" y="1691"/>
                </a:lnTo>
                <a:lnTo>
                  <a:pt x="1146" y="1697"/>
                </a:lnTo>
                <a:lnTo>
                  <a:pt x="1140" y="1705"/>
                </a:lnTo>
                <a:lnTo>
                  <a:pt x="1137" y="1715"/>
                </a:lnTo>
                <a:lnTo>
                  <a:pt x="1135" y="1726"/>
                </a:lnTo>
                <a:lnTo>
                  <a:pt x="1135" y="1738"/>
                </a:lnTo>
                <a:lnTo>
                  <a:pt x="1135" y="1860"/>
                </a:lnTo>
                <a:close/>
                <a:moveTo>
                  <a:pt x="593" y="1742"/>
                </a:moveTo>
                <a:lnTo>
                  <a:pt x="593" y="1860"/>
                </a:lnTo>
                <a:lnTo>
                  <a:pt x="537" y="1860"/>
                </a:lnTo>
                <a:lnTo>
                  <a:pt x="537" y="1639"/>
                </a:lnTo>
                <a:lnTo>
                  <a:pt x="593" y="1639"/>
                </a:lnTo>
                <a:lnTo>
                  <a:pt x="593" y="1742"/>
                </a:lnTo>
                <a:close/>
                <a:moveTo>
                  <a:pt x="641" y="1573"/>
                </a:moveTo>
                <a:lnTo>
                  <a:pt x="696" y="1546"/>
                </a:lnTo>
                <a:lnTo>
                  <a:pt x="696" y="1747"/>
                </a:lnTo>
                <a:lnTo>
                  <a:pt x="696" y="1860"/>
                </a:lnTo>
                <a:lnTo>
                  <a:pt x="641" y="1860"/>
                </a:lnTo>
                <a:lnTo>
                  <a:pt x="641" y="1573"/>
                </a:lnTo>
                <a:close/>
                <a:moveTo>
                  <a:pt x="871" y="1654"/>
                </a:moveTo>
                <a:lnTo>
                  <a:pt x="871" y="1654"/>
                </a:lnTo>
                <a:lnTo>
                  <a:pt x="866" y="1648"/>
                </a:lnTo>
                <a:lnTo>
                  <a:pt x="861" y="1645"/>
                </a:lnTo>
                <a:lnTo>
                  <a:pt x="854" y="1641"/>
                </a:lnTo>
                <a:lnTo>
                  <a:pt x="849" y="1639"/>
                </a:lnTo>
                <a:lnTo>
                  <a:pt x="842" y="1636"/>
                </a:lnTo>
                <a:lnTo>
                  <a:pt x="835" y="1634"/>
                </a:lnTo>
                <a:lnTo>
                  <a:pt x="822" y="1633"/>
                </a:lnTo>
                <a:lnTo>
                  <a:pt x="822" y="1633"/>
                </a:lnTo>
                <a:lnTo>
                  <a:pt x="812" y="1634"/>
                </a:lnTo>
                <a:lnTo>
                  <a:pt x="802" y="1635"/>
                </a:lnTo>
                <a:lnTo>
                  <a:pt x="794" y="1637"/>
                </a:lnTo>
                <a:lnTo>
                  <a:pt x="786" y="1641"/>
                </a:lnTo>
                <a:lnTo>
                  <a:pt x="778" y="1645"/>
                </a:lnTo>
                <a:lnTo>
                  <a:pt x="770" y="1651"/>
                </a:lnTo>
                <a:lnTo>
                  <a:pt x="764" y="1657"/>
                </a:lnTo>
                <a:lnTo>
                  <a:pt x="758" y="1664"/>
                </a:lnTo>
                <a:lnTo>
                  <a:pt x="753" y="1672"/>
                </a:lnTo>
                <a:lnTo>
                  <a:pt x="748" y="1680"/>
                </a:lnTo>
                <a:lnTo>
                  <a:pt x="744" y="1689"/>
                </a:lnTo>
                <a:lnTo>
                  <a:pt x="741" y="1699"/>
                </a:lnTo>
                <a:lnTo>
                  <a:pt x="738" y="1710"/>
                </a:lnTo>
                <a:lnTo>
                  <a:pt x="736" y="1722"/>
                </a:lnTo>
                <a:lnTo>
                  <a:pt x="735" y="1734"/>
                </a:lnTo>
                <a:lnTo>
                  <a:pt x="735" y="1747"/>
                </a:lnTo>
                <a:lnTo>
                  <a:pt x="735" y="1747"/>
                </a:lnTo>
                <a:lnTo>
                  <a:pt x="735" y="1761"/>
                </a:lnTo>
                <a:lnTo>
                  <a:pt x="736" y="1773"/>
                </a:lnTo>
                <a:lnTo>
                  <a:pt x="738" y="1785"/>
                </a:lnTo>
                <a:lnTo>
                  <a:pt x="741" y="1796"/>
                </a:lnTo>
                <a:lnTo>
                  <a:pt x="744" y="1807"/>
                </a:lnTo>
                <a:lnTo>
                  <a:pt x="747" y="1817"/>
                </a:lnTo>
                <a:lnTo>
                  <a:pt x="752" y="1826"/>
                </a:lnTo>
                <a:lnTo>
                  <a:pt x="757" y="1834"/>
                </a:lnTo>
                <a:lnTo>
                  <a:pt x="764" y="1841"/>
                </a:lnTo>
                <a:lnTo>
                  <a:pt x="769" y="1847"/>
                </a:lnTo>
                <a:lnTo>
                  <a:pt x="777" y="1853"/>
                </a:lnTo>
                <a:lnTo>
                  <a:pt x="785" y="1857"/>
                </a:lnTo>
                <a:lnTo>
                  <a:pt x="792" y="1860"/>
                </a:lnTo>
                <a:lnTo>
                  <a:pt x="801" y="1864"/>
                </a:lnTo>
                <a:lnTo>
                  <a:pt x="811" y="1865"/>
                </a:lnTo>
                <a:lnTo>
                  <a:pt x="821" y="1866"/>
                </a:lnTo>
                <a:lnTo>
                  <a:pt x="821" y="1866"/>
                </a:lnTo>
                <a:lnTo>
                  <a:pt x="828" y="1865"/>
                </a:lnTo>
                <a:lnTo>
                  <a:pt x="834" y="1864"/>
                </a:lnTo>
                <a:lnTo>
                  <a:pt x="841" y="1862"/>
                </a:lnTo>
                <a:lnTo>
                  <a:pt x="848" y="1860"/>
                </a:lnTo>
                <a:lnTo>
                  <a:pt x="853" y="1857"/>
                </a:lnTo>
                <a:lnTo>
                  <a:pt x="860" y="1854"/>
                </a:lnTo>
                <a:lnTo>
                  <a:pt x="865" y="1849"/>
                </a:lnTo>
                <a:lnTo>
                  <a:pt x="871" y="1844"/>
                </a:lnTo>
                <a:lnTo>
                  <a:pt x="871" y="1860"/>
                </a:lnTo>
                <a:lnTo>
                  <a:pt x="926" y="1860"/>
                </a:lnTo>
                <a:lnTo>
                  <a:pt x="926" y="1546"/>
                </a:lnTo>
                <a:lnTo>
                  <a:pt x="871" y="1573"/>
                </a:lnTo>
                <a:lnTo>
                  <a:pt x="871" y="1654"/>
                </a:lnTo>
                <a:close/>
                <a:moveTo>
                  <a:pt x="832" y="1815"/>
                </a:moveTo>
                <a:lnTo>
                  <a:pt x="832" y="1815"/>
                </a:lnTo>
                <a:lnTo>
                  <a:pt x="826" y="1814"/>
                </a:lnTo>
                <a:lnTo>
                  <a:pt x="818" y="1812"/>
                </a:lnTo>
                <a:lnTo>
                  <a:pt x="811" y="1808"/>
                </a:lnTo>
                <a:lnTo>
                  <a:pt x="805" y="1802"/>
                </a:lnTo>
                <a:lnTo>
                  <a:pt x="799" y="1793"/>
                </a:lnTo>
                <a:lnTo>
                  <a:pt x="795" y="1781"/>
                </a:lnTo>
                <a:lnTo>
                  <a:pt x="791" y="1765"/>
                </a:lnTo>
                <a:lnTo>
                  <a:pt x="790" y="1746"/>
                </a:lnTo>
                <a:lnTo>
                  <a:pt x="790" y="1746"/>
                </a:lnTo>
                <a:lnTo>
                  <a:pt x="791" y="1728"/>
                </a:lnTo>
                <a:lnTo>
                  <a:pt x="795" y="1715"/>
                </a:lnTo>
                <a:lnTo>
                  <a:pt x="799" y="1704"/>
                </a:lnTo>
                <a:lnTo>
                  <a:pt x="805" y="1696"/>
                </a:lnTo>
                <a:lnTo>
                  <a:pt x="810" y="1689"/>
                </a:lnTo>
                <a:lnTo>
                  <a:pt x="818" y="1686"/>
                </a:lnTo>
                <a:lnTo>
                  <a:pt x="824" y="1684"/>
                </a:lnTo>
                <a:lnTo>
                  <a:pt x="832" y="1684"/>
                </a:lnTo>
                <a:lnTo>
                  <a:pt x="832" y="1684"/>
                </a:lnTo>
                <a:lnTo>
                  <a:pt x="839" y="1684"/>
                </a:lnTo>
                <a:lnTo>
                  <a:pt x="845" y="1686"/>
                </a:lnTo>
                <a:lnTo>
                  <a:pt x="852" y="1688"/>
                </a:lnTo>
                <a:lnTo>
                  <a:pt x="856" y="1691"/>
                </a:lnTo>
                <a:lnTo>
                  <a:pt x="861" y="1695"/>
                </a:lnTo>
                <a:lnTo>
                  <a:pt x="865" y="1698"/>
                </a:lnTo>
                <a:lnTo>
                  <a:pt x="871" y="1706"/>
                </a:lnTo>
                <a:lnTo>
                  <a:pt x="871" y="1793"/>
                </a:lnTo>
                <a:lnTo>
                  <a:pt x="871" y="1793"/>
                </a:lnTo>
                <a:lnTo>
                  <a:pt x="864" y="1801"/>
                </a:lnTo>
                <a:lnTo>
                  <a:pt x="856" y="1807"/>
                </a:lnTo>
                <a:lnTo>
                  <a:pt x="852" y="1811"/>
                </a:lnTo>
                <a:lnTo>
                  <a:pt x="845" y="1813"/>
                </a:lnTo>
                <a:lnTo>
                  <a:pt x="840" y="1814"/>
                </a:lnTo>
                <a:lnTo>
                  <a:pt x="832" y="1815"/>
                </a:lnTo>
                <a:lnTo>
                  <a:pt x="832" y="1815"/>
                </a:lnTo>
                <a:close/>
                <a:moveTo>
                  <a:pt x="2069" y="1633"/>
                </a:moveTo>
                <a:lnTo>
                  <a:pt x="2069" y="1633"/>
                </a:lnTo>
                <a:lnTo>
                  <a:pt x="2064" y="1634"/>
                </a:lnTo>
                <a:lnTo>
                  <a:pt x="2057" y="1635"/>
                </a:lnTo>
                <a:lnTo>
                  <a:pt x="2044" y="1639"/>
                </a:lnTo>
                <a:lnTo>
                  <a:pt x="2032" y="1645"/>
                </a:lnTo>
                <a:lnTo>
                  <a:pt x="2021" y="1654"/>
                </a:lnTo>
                <a:lnTo>
                  <a:pt x="2021" y="1551"/>
                </a:lnTo>
                <a:lnTo>
                  <a:pt x="1966" y="1579"/>
                </a:lnTo>
                <a:lnTo>
                  <a:pt x="1966" y="1860"/>
                </a:lnTo>
                <a:lnTo>
                  <a:pt x="2021" y="1860"/>
                </a:lnTo>
                <a:lnTo>
                  <a:pt x="2021" y="1844"/>
                </a:lnTo>
                <a:lnTo>
                  <a:pt x="2021" y="1844"/>
                </a:lnTo>
                <a:lnTo>
                  <a:pt x="2025" y="1849"/>
                </a:lnTo>
                <a:lnTo>
                  <a:pt x="2032" y="1854"/>
                </a:lnTo>
                <a:lnTo>
                  <a:pt x="2037" y="1857"/>
                </a:lnTo>
                <a:lnTo>
                  <a:pt x="2044" y="1860"/>
                </a:lnTo>
                <a:lnTo>
                  <a:pt x="2049" y="1862"/>
                </a:lnTo>
                <a:lnTo>
                  <a:pt x="2057" y="1864"/>
                </a:lnTo>
                <a:lnTo>
                  <a:pt x="2064" y="1865"/>
                </a:lnTo>
                <a:lnTo>
                  <a:pt x="2070" y="1866"/>
                </a:lnTo>
                <a:lnTo>
                  <a:pt x="2070" y="1866"/>
                </a:lnTo>
                <a:lnTo>
                  <a:pt x="2080" y="1865"/>
                </a:lnTo>
                <a:lnTo>
                  <a:pt x="2090" y="1864"/>
                </a:lnTo>
                <a:lnTo>
                  <a:pt x="2099" y="1861"/>
                </a:lnTo>
                <a:lnTo>
                  <a:pt x="2108" y="1857"/>
                </a:lnTo>
                <a:lnTo>
                  <a:pt x="2116" y="1853"/>
                </a:lnTo>
                <a:lnTo>
                  <a:pt x="2122" y="1848"/>
                </a:lnTo>
                <a:lnTo>
                  <a:pt x="2129" y="1841"/>
                </a:lnTo>
                <a:lnTo>
                  <a:pt x="2134" y="1835"/>
                </a:lnTo>
                <a:lnTo>
                  <a:pt x="2140" y="1826"/>
                </a:lnTo>
                <a:lnTo>
                  <a:pt x="2144" y="1817"/>
                </a:lnTo>
                <a:lnTo>
                  <a:pt x="2148" y="1807"/>
                </a:lnTo>
                <a:lnTo>
                  <a:pt x="2151" y="1797"/>
                </a:lnTo>
                <a:lnTo>
                  <a:pt x="2154" y="1786"/>
                </a:lnTo>
                <a:lnTo>
                  <a:pt x="2155" y="1774"/>
                </a:lnTo>
                <a:lnTo>
                  <a:pt x="2157" y="1761"/>
                </a:lnTo>
                <a:lnTo>
                  <a:pt x="2158" y="1747"/>
                </a:lnTo>
                <a:lnTo>
                  <a:pt x="2158" y="1747"/>
                </a:lnTo>
                <a:lnTo>
                  <a:pt x="2157" y="1734"/>
                </a:lnTo>
                <a:lnTo>
                  <a:pt x="2155" y="1722"/>
                </a:lnTo>
                <a:lnTo>
                  <a:pt x="2153" y="1710"/>
                </a:lnTo>
                <a:lnTo>
                  <a:pt x="2151" y="1699"/>
                </a:lnTo>
                <a:lnTo>
                  <a:pt x="2148" y="1689"/>
                </a:lnTo>
                <a:lnTo>
                  <a:pt x="2143" y="1680"/>
                </a:lnTo>
                <a:lnTo>
                  <a:pt x="2139" y="1672"/>
                </a:lnTo>
                <a:lnTo>
                  <a:pt x="2133" y="1664"/>
                </a:lnTo>
                <a:lnTo>
                  <a:pt x="2128" y="1657"/>
                </a:lnTo>
                <a:lnTo>
                  <a:pt x="2121" y="1651"/>
                </a:lnTo>
                <a:lnTo>
                  <a:pt x="2113" y="1645"/>
                </a:lnTo>
                <a:lnTo>
                  <a:pt x="2106" y="1641"/>
                </a:lnTo>
                <a:lnTo>
                  <a:pt x="2098" y="1637"/>
                </a:lnTo>
                <a:lnTo>
                  <a:pt x="2089" y="1635"/>
                </a:lnTo>
                <a:lnTo>
                  <a:pt x="2079" y="1634"/>
                </a:lnTo>
                <a:lnTo>
                  <a:pt x="2069" y="1633"/>
                </a:lnTo>
                <a:lnTo>
                  <a:pt x="2069" y="1633"/>
                </a:lnTo>
                <a:close/>
                <a:moveTo>
                  <a:pt x="2059" y="1684"/>
                </a:moveTo>
                <a:lnTo>
                  <a:pt x="2059" y="1684"/>
                </a:lnTo>
                <a:lnTo>
                  <a:pt x="2067" y="1685"/>
                </a:lnTo>
                <a:lnTo>
                  <a:pt x="2075" y="1687"/>
                </a:lnTo>
                <a:lnTo>
                  <a:pt x="2081" y="1691"/>
                </a:lnTo>
                <a:lnTo>
                  <a:pt x="2088" y="1698"/>
                </a:lnTo>
                <a:lnTo>
                  <a:pt x="2094" y="1706"/>
                </a:lnTo>
                <a:lnTo>
                  <a:pt x="2097" y="1717"/>
                </a:lnTo>
                <a:lnTo>
                  <a:pt x="2100" y="1730"/>
                </a:lnTo>
                <a:lnTo>
                  <a:pt x="2101" y="1746"/>
                </a:lnTo>
                <a:lnTo>
                  <a:pt x="2101" y="1746"/>
                </a:lnTo>
                <a:lnTo>
                  <a:pt x="2100" y="1762"/>
                </a:lnTo>
                <a:lnTo>
                  <a:pt x="2098" y="1776"/>
                </a:lnTo>
                <a:lnTo>
                  <a:pt x="2096" y="1787"/>
                </a:lnTo>
                <a:lnTo>
                  <a:pt x="2091" y="1797"/>
                </a:lnTo>
                <a:lnTo>
                  <a:pt x="2085" y="1805"/>
                </a:lnTo>
                <a:lnTo>
                  <a:pt x="2078" y="1811"/>
                </a:lnTo>
                <a:lnTo>
                  <a:pt x="2070" y="1814"/>
                </a:lnTo>
                <a:lnTo>
                  <a:pt x="2061" y="1815"/>
                </a:lnTo>
                <a:lnTo>
                  <a:pt x="2061" y="1815"/>
                </a:lnTo>
                <a:lnTo>
                  <a:pt x="2053" y="1814"/>
                </a:lnTo>
                <a:lnTo>
                  <a:pt x="2046" y="1813"/>
                </a:lnTo>
                <a:lnTo>
                  <a:pt x="2041" y="1810"/>
                </a:lnTo>
                <a:lnTo>
                  <a:pt x="2035" y="1807"/>
                </a:lnTo>
                <a:lnTo>
                  <a:pt x="2026" y="1800"/>
                </a:lnTo>
                <a:lnTo>
                  <a:pt x="2021" y="1794"/>
                </a:lnTo>
                <a:lnTo>
                  <a:pt x="2021" y="1706"/>
                </a:lnTo>
                <a:lnTo>
                  <a:pt x="2021" y="1706"/>
                </a:lnTo>
                <a:lnTo>
                  <a:pt x="2024" y="1701"/>
                </a:lnTo>
                <a:lnTo>
                  <a:pt x="2029" y="1697"/>
                </a:lnTo>
                <a:lnTo>
                  <a:pt x="2033" y="1693"/>
                </a:lnTo>
                <a:lnTo>
                  <a:pt x="2037" y="1689"/>
                </a:lnTo>
                <a:lnTo>
                  <a:pt x="2043" y="1687"/>
                </a:lnTo>
                <a:lnTo>
                  <a:pt x="2048" y="1685"/>
                </a:lnTo>
                <a:lnTo>
                  <a:pt x="2054" y="1684"/>
                </a:lnTo>
                <a:lnTo>
                  <a:pt x="2059" y="1684"/>
                </a:lnTo>
                <a:lnTo>
                  <a:pt x="2059" y="1684"/>
                </a:lnTo>
                <a:close/>
                <a:moveTo>
                  <a:pt x="1445" y="1654"/>
                </a:moveTo>
                <a:lnTo>
                  <a:pt x="1445" y="1654"/>
                </a:lnTo>
                <a:lnTo>
                  <a:pt x="1440" y="1650"/>
                </a:lnTo>
                <a:lnTo>
                  <a:pt x="1435" y="1645"/>
                </a:lnTo>
                <a:lnTo>
                  <a:pt x="1428" y="1642"/>
                </a:lnTo>
                <a:lnTo>
                  <a:pt x="1423" y="1639"/>
                </a:lnTo>
                <a:lnTo>
                  <a:pt x="1416" y="1636"/>
                </a:lnTo>
                <a:lnTo>
                  <a:pt x="1409" y="1634"/>
                </a:lnTo>
                <a:lnTo>
                  <a:pt x="1403" y="1634"/>
                </a:lnTo>
                <a:lnTo>
                  <a:pt x="1396" y="1633"/>
                </a:lnTo>
                <a:lnTo>
                  <a:pt x="1396" y="1633"/>
                </a:lnTo>
                <a:lnTo>
                  <a:pt x="1386" y="1634"/>
                </a:lnTo>
                <a:lnTo>
                  <a:pt x="1376" y="1635"/>
                </a:lnTo>
                <a:lnTo>
                  <a:pt x="1367" y="1637"/>
                </a:lnTo>
                <a:lnTo>
                  <a:pt x="1360" y="1641"/>
                </a:lnTo>
                <a:lnTo>
                  <a:pt x="1352" y="1645"/>
                </a:lnTo>
                <a:lnTo>
                  <a:pt x="1344" y="1651"/>
                </a:lnTo>
                <a:lnTo>
                  <a:pt x="1338" y="1657"/>
                </a:lnTo>
                <a:lnTo>
                  <a:pt x="1332" y="1664"/>
                </a:lnTo>
                <a:lnTo>
                  <a:pt x="1327" y="1672"/>
                </a:lnTo>
                <a:lnTo>
                  <a:pt x="1322" y="1680"/>
                </a:lnTo>
                <a:lnTo>
                  <a:pt x="1318" y="1689"/>
                </a:lnTo>
                <a:lnTo>
                  <a:pt x="1314" y="1699"/>
                </a:lnTo>
                <a:lnTo>
                  <a:pt x="1312" y="1710"/>
                </a:lnTo>
                <a:lnTo>
                  <a:pt x="1310" y="1722"/>
                </a:lnTo>
                <a:lnTo>
                  <a:pt x="1309" y="1734"/>
                </a:lnTo>
                <a:lnTo>
                  <a:pt x="1309" y="1747"/>
                </a:lnTo>
                <a:lnTo>
                  <a:pt x="1309" y="1747"/>
                </a:lnTo>
                <a:lnTo>
                  <a:pt x="1309" y="1761"/>
                </a:lnTo>
                <a:lnTo>
                  <a:pt x="1310" y="1773"/>
                </a:lnTo>
                <a:lnTo>
                  <a:pt x="1312" y="1785"/>
                </a:lnTo>
                <a:lnTo>
                  <a:pt x="1314" y="1796"/>
                </a:lnTo>
                <a:lnTo>
                  <a:pt x="1318" y="1807"/>
                </a:lnTo>
                <a:lnTo>
                  <a:pt x="1321" y="1817"/>
                </a:lnTo>
                <a:lnTo>
                  <a:pt x="1327" y="1826"/>
                </a:lnTo>
                <a:lnTo>
                  <a:pt x="1331" y="1834"/>
                </a:lnTo>
                <a:lnTo>
                  <a:pt x="1338" y="1841"/>
                </a:lnTo>
                <a:lnTo>
                  <a:pt x="1343" y="1847"/>
                </a:lnTo>
                <a:lnTo>
                  <a:pt x="1351" y="1853"/>
                </a:lnTo>
                <a:lnTo>
                  <a:pt x="1359" y="1857"/>
                </a:lnTo>
                <a:lnTo>
                  <a:pt x="1366" y="1860"/>
                </a:lnTo>
                <a:lnTo>
                  <a:pt x="1375" y="1864"/>
                </a:lnTo>
                <a:lnTo>
                  <a:pt x="1385" y="1865"/>
                </a:lnTo>
                <a:lnTo>
                  <a:pt x="1395" y="1865"/>
                </a:lnTo>
                <a:lnTo>
                  <a:pt x="1395" y="1865"/>
                </a:lnTo>
                <a:lnTo>
                  <a:pt x="1402" y="1865"/>
                </a:lnTo>
                <a:lnTo>
                  <a:pt x="1408" y="1864"/>
                </a:lnTo>
                <a:lnTo>
                  <a:pt x="1415" y="1862"/>
                </a:lnTo>
                <a:lnTo>
                  <a:pt x="1421" y="1860"/>
                </a:lnTo>
                <a:lnTo>
                  <a:pt x="1428" y="1857"/>
                </a:lnTo>
                <a:lnTo>
                  <a:pt x="1434" y="1853"/>
                </a:lnTo>
                <a:lnTo>
                  <a:pt x="1439" y="1849"/>
                </a:lnTo>
                <a:lnTo>
                  <a:pt x="1445" y="1844"/>
                </a:lnTo>
                <a:lnTo>
                  <a:pt x="1445" y="1849"/>
                </a:lnTo>
                <a:lnTo>
                  <a:pt x="1445" y="1849"/>
                </a:lnTo>
                <a:lnTo>
                  <a:pt x="1445" y="1858"/>
                </a:lnTo>
                <a:lnTo>
                  <a:pt x="1444" y="1868"/>
                </a:lnTo>
                <a:lnTo>
                  <a:pt x="1441" y="1878"/>
                </a:lnTo>
                <a:lnTo>
                  <a:pt x="1439" y="1882"/>
                </a:lnTo>
                <a:lnTo>
                  <a:pt x="1436" y="1887"/>
                </a:lnTo>
                <a:lnTo>
                  <a:pt x="1433" y="1891"/>
                </a:lnTo>
                <a:lnTo>
                  <a:pt x="1428" y="1896"/>
                </a:lnTo>
                <a:lnTo>
                  <a:pt x="1421" y="1899"/>
                </a:lnTo>
                <a:lnTo>
                  <a:pt x="1415" y="1901"/>
                </a:lnTo>
                <a:lnTo>
                  <a:pt x="1407" y="1904"/>
                </a:lnTo>
                <a:lnTo>
                  <a:pt x="1397" y="1905"/>
                </a:lnTo>
                <a:lnTo>
                  <a:pt x="1386" y="1908"/>
                </a:lnTo>
                <a:lnTo>
                  <a:pt x="1374" y="1908"/>
                </a:lnTo>
                <a:lnTo>
                  <a:pt x="1372" y="1908"/>
                </a:lnTo>
                <a:lnTo>
                  <a:pt x="1391" y="1951"/>
                </a:lnTo>
                <a:lnTo>
                  <a:pt x="1392" y="1951"/>
                </a:lnTo>
                <a:lnTo>
                  <a:pt x="1392" y="1951"/>
                </a:lnTo>
                <a:lnTo>
                  <a:pt x="1405" y="1951"/>
                </a:lnTo>
                <a:lnTo>
                  <a:pt x="1417" y="1948"/>
                </a:lnTo>
                <a:lnTo>
                  <a:pt x="1429" y="1946"/>
                </a:lnTo>
                <a:lnTo>
                  <a:pt x="1439" y="1943"/>
                </a:lnTo>
                <a:lnTo>
                  <a:pt x="1449" y="1940"/>
                </a:lnTo>
                <a:lnTo>
                  <a:pt x="1458" y="1935"/>
                </a:lnTo>
                <a:lnTo>
                  <a:pt x="1466" y="1929"/>
                </a:lnTo>
                <a:lnTo>
                  <a:pt x="1473" y="1923"/>
                </a:lnTo>
                <a:lnTo>
                  <a:pt x="1480" y="1915"/>
                </a:lnTo>
                <a:lnTo>
                  <a:pt x="1484" y="1907"/>
                </a:lnTo>
                <a:lnTo>
                  <a:pt x="1490" y="1898"/>
                </a:lnTo>
                <a:lnTo>
                  <a:pt x="1493" y="1888"/>
                </a:lnTo>
                <a:lnTo>
                  <a:pt x="1497" y="1877"/>
                </a:lnTo>
                <a:lnTo>
                  <a:pt x="1499" y="1866"/>
                </a:lnTo>
                <a:lnTo>
                  <a:pt x="1500" y="1854"/>
                </a:lnTo>
                <a:lnTo>
                  <a:pt x="1500" y="1839"/>
                </a:lnTo>
                <a:lnTo>
                  <a:pt x="1500" y="1639"/>
                </a:lnTo>
                <a:lnTo>
                  <a:pt x="1445" y="1639"/>
                </a:lnTo>
                <a:lnTo>
                  <a:pt x="1445" y="1654"/>
                </a:lnTo>
                <a:close/>
                <a:moveTo>
                  <a:pt x="1445" y="1706"/>
                </a:moveTo>
                <a:lnTo>
                  <a:pt x="1445" y="1793"/>
                </a:lnTo>
                <a:lnTo>
                  <a:pt x="1445" y="1793"/>
                </a:lnTo>
                <a:lnTo>
                  <a:pt x="1438" y="1801"/>
                </a:lnTo>
                <a:lnTo>
                  <a:pt x="1429" y="1808"/>
                </a:lnTo>
                <a:lnTo>
                  <a:pt x="1425" y="1811"/>
                </a:lnTo>
                <a:lnTo>
                  <a:pt x="1419" y="1813"/>
                </a:lnTo>
                <a:lnTo>
                  <a:pt x="1413" y="1814"/>
                </a:lnTo>
                <a:lnTo>
                  <a:pt x="1406" y="1815"/>
                </a:lnTo>
                <a:lnTo>
                  <a:pt x="1406" y="1815"/>
                </a:lnTo>
                <a:lnTo>
                  <a:pt x="1398" y="1814"/>
                </a:lnTo>
                <a:lnTo>
                  <a:pt x="1392" y="1812"/>
                </a:lnTo>
                <a:lnTo>
                  <a:pt x="1384" y="1807"/>
                </a:lnTo>
                <a:lnTo>
                  <a:pt x="1378" y="1802"/>
                </a:lnTo>
                <a:lnTo>
                  <a:pt x="1373" y="1793"/>
                </a:lnTo>
                <a:lnTo>
                  <a:pt x="1369" y="1781"/>
                </a:lnTo>
                <a:lnTo>
                  <a:pt x="1365" y="1765"/>
                </a:lnTo>
                <a:lnTo>
                  <a:pt x="1364" y="1746"/>
                </a:lnTo>
                <a:lnTo>
                  <a:pt x="1364" y="1746"/>
                </a:lnTo>
                <a:lnTo>
                  <a:pt x="1365" y="1728"/>
                </a:lnTo>
                <a:lnTo>
                  <a:pt x="1369" y="1715"/>
                </a:lnTo>
                <a:lnTo>
                  <a:pt x="1373" y="1704"/>
                </a:lnTo>
                <a:lnTo>
                  <a:pt x="1378" y="1696"/>
                </a:lnTo>
                <a:lnTo>
                  <a:pt x="1384" y="1689"/>
                </a:lnTo>
                <a:lnTo>
                  <a:pt x="1392" y="1686"/>
                </a:lnTo>
                <a:lnTo>
                  <a:pt x="1398" y="1684"/>
                </a:lnTo>
                <a:lnTo>
                  <a:pt x="1406" y="1684"/>
                </a:lnTo>
                <a:lnTo>
                  <a:pt x="1406" y="1684"/>
                </a:lnTo>
                <a:lnTo>
                  <a:pt x="1413" y="1684"/>
                </a:lnTo>
                <a:lnTo>
                  <a:pt x="1419" y="1686"/>
                </a:lnTo>
                <a:lnTo>
                  <a:pt x="1426" y="1688"/>
                </a:lnTo>
                <a:lnTo>
                  <a:pt x="1430" y="1690"/>
                </a:lnTo>
                <a:lnTo>
                  <a:pt x="1435" y="1695"/>
                </a:lnTo>
                <a:lnTo>
                  <a:pt x="1439" y="1698"/>
                </a:lnTo>
                <a:lnTo>
                  <a:pt x="1445" y="1706"/>
                </a:lnTo>
                <a:lnTo>
                  <a:pt x="1445" y="1706"/>
                </a:lnTo>
                <a:close/>
                <a:moveTo>
                  <a:pt x="1671" y="1693"/>
                </a:moveTo>
                <a:lnTo>
                  <a:pt x="1671" y="1693"/>
                </a:lnTo>
                <a:lnTo>
                  <a:pt x="1684" y="1686"/>
                </a:lnTo>
                <a:lnTo>
                  <a:pt x="1697" y="1682"/>
                </a:lnTo>
                <a:lnTo>
                  <a:pt x="1712" y="1678"/>
                </a:lnTo>
                <a:lnTo>
                  <a:pt x="1727" y="1677"/>
                </a:lnTo>
                <a:lnTo>
                  <a:pt x="1727" y="1677"/>
                </a:lnTo>
                <a:lnTo>
                  <a:pt x="1737" y="1678"/>
                </a:lnTo>
                <a:lnTo>
                  <a:pt x="1745" y="1679"/>
                </a:lnTo>
                <a:lnTo>
                  <a:pt x="1751" y="1682"/>
                </a:lnTo>
                <a:lnTo>
                  <a:pt x="1757" y="1686"/>
                </a:lnTo>
                <a:lnTo>
                  <a:pt x="1761" y="1690"/>
                </a:lnTo>
                <a:lnTo>
                  <a:pt x="1765" y="1696"/>
                </a:lnTo>
                <a:lnTo>
                  <a:pt x="1767" y="1701"/>
                </a:lnTo>
                <a:lnTo>
                  <a:pt x="1767" y="1709"/>
                </a:lnTo>
                <a:lnTo>
                  <a:pt x="1767" y="1725"/>
                </a:lnTo>
                <a:lnTo>
                  <a:pt x="1767" y="1725"/>
                </a:lnTo>
                <a:lnTo>
                  <a:pt x="1757" y="1720"/>
                </a:lnTo>
                <a:lnTo>
                  <a:pt x="1745" y="1717"/>
                </a:lnTo>
                <a:lnTo>
                  <a:pt x="1733" y="1715"/>
                </a:lnTo>
                <a:lnTo>
                  <a:pt x="1719" y="1714"/>
                </a:lnTo>
                <a:lnTo>
                  <a:pt x="1719" y="1714"/>
                </a:lnTo>
                <a:lnTo>
                  <a:pt x="1704" y="1715"/>
                </a:lnTo>
                <a:lnTo>
                  <a:pt x="1689" y="1718"/>
                </a:lnTo>
                <a:lnTo>
                  <a:pt x="1674" y="1722"/>
                </a:lnTo>
                <a:lnTo>
                  <a:pt x="1667" y="1726"/>
                </a:lnTo>
                <a:lnTo>
                  <a:pt x="1660" y="1730"/>
                </a:lnTo>
                <a:lnTo>
                  <a:pt x="1654" y="1734"/>
                </a:lnTo>
                <a:lnTo>
                  <a:pt x="1649" y="1740"/>
                </a:lnTo>
                <a:lnTo>
                  <a:pt x="1643" y="1746"/>
                </a:lnTo>
                <a:lnTo>
                  <a:pt x="1639" y="1752"/>
                </a:lnTo>
                <a:lnTo>
                  <a:pt x="1636" y="1760"/>
                </a:lnTo>
                <a:lnTo>
                  <a:pt x="1633" y="1769"/>
                </a:lnTo>
                <a:lnTo>
                  <a:pt x="1632" y="1778"/>
                </a:lnTo>
                <a:lnTo>
                  <a:pt x="1631" y="1786"/>
                </a:lnTo>
                <a:lnTo>
                  <a:pt x="1631" y="1786"/>
                </a:lnTo>
                <a:lnTo>
                  <a:pt x="1632" y="1797"/>
                </a:lnTo>
                <a:lnTo>
                  <a:pt x="1633" y="1807"/>
                </a:lnTo>
                <a:lnTo>
                  <a:pt x="1636" y="1815"/>
                </a:lnTo>
                <a:lnTo>
                  <a:pt x="1639" y="1824"/>
                </a:lnTo>
                <a:lnTo>
                  <a:pt x="1642" y="1830"/>
                </a:lnTo>
                <a:lnTo>
                  <a:pt x="1648" y="1837"/>
                </a:lnTo>
                <a:lnTo>
                  <a:pt x="1652" y="1843"/>
                </a:lnTo>
                <a:lnTo>
                  <a:pt x="1659" y="1848"/>
                </a:lnTo>
                <a:lnTo>
                  <a:pt x="1664" y="1853"/>
                </a:lnTo>
                <a:lnTo>
                  <a:pt x="1671" y="1856"/>
                </a:lnTo>
                <a:lnTo>
                  <a:pt x="1685" y="1861"/>
                </a:lnTo>
                <a:lnTo>
                  <a:pt x="1700" y="1865"/>
                </a:lnTo>
                <a:lnTo>
                  <a:pt x="1714" y="1866"/>
                </a:lnTo>
                <a:lnTo>
                  <a:pt x="1714" y="1866"/>
                </a:lnTo>
                <a:lnTo>
                  <a:pt x="1726" y="1864"/>
                </a:lnTo>
                <a:lnTo>
                  <a:pt x="1734" y="1862"/>
                </a:lnTo>
                <a:lnTo>
                  <a:pt x="1740" y="1860"/>
                </a:lnTo>
                <a:lnTo>
                  <a:pt x="1748" y="1857"/>
                </a:lnTo>
                <a:lnTo>
                  <a:pt x="1755" y="1853"/>
                </a:lnTo>
                <a:lnTo>
                  <a:pt x="1761" y="1848"/>
                </a:lnTo>
                <a:lnTo>
                  <a:pt x="1767" y="1843"/>
                </a:lnTo>
                <a:lnTo>
                  <a:pt x="1767" y="1860"/>
                </a:lnTo>
                <a:lnTo>
                  <a:pt x="1822" y="1860"/>
                </a:lnTo>
                <a:lnTo>
                  <a:pt x="1822" y="1710"/>
                </a:lnTo>
                <a:lnTo>
                  <a:pt x="1822" y="1710"/>
                </a:lnTo>
                <a:lnTo>
                  <a:pt x="1822" y="1701"/>
                </a:lnTo>
                <a:lnTo>
                  <a:pt x="1821" y="1694"/>
                </a:lnTo>
                <a:lnTo>
                  <a:pt x="1819" y="1686"/>
                </a:lnTo>
                <a:lnTo>
                  <a:pt x="1817" y="1678"/>
                </a:lnTo>
                <a:lnTo>
                  <a:pt x="1812" y="1672"/>
                </a:lnTo>
                <a:lnTo>
                  <a:pt x="1809" y="1665"/>
                </a:lnTo>
                <a:lnTo>
                  <a:pt x="1803" y="1659"/>
                </a:lnTo>
                <a:lnTo>
                  <a:pt x="1798" y="1654"/>
                </a:lnTo>
                <a:lnTo>
                  <a:pt x="1792" y="1650"/>
                </a:lnTo>
                <a:lnTo>
                  <a:pt x="1786" y="1645"/>
                </a:lnTo>
                <a:lnTo>
                  <a:pt x="1778" y="1642"/>
                </a:lnTo>
                <a:lnTo>
                  <a:pt x="1770" y="1639"/>
                </a:lnTo>
                <a:lnTo>
                  <a:pt x="1761" y="1636"/>
                </a:lnTo>
                <a:lnTo>
                  <a:pt x="1753" y="1635"/>
                </a:lnTo>
                <a:lnTo>
                  <a:pt x="1743" y="1634"/>
                </a:lnTo>
                <a:lnTo>
                  <a:pt x="1733" y="1633"/>
                </a:lnTo>
                <a:lnTo>
                  <a:pt x="1733" y="1633"/>
                </a:lnTo>
                <a:lnTo>
                  <a:pt x="1721" y="1634"/>
                </a:lnTo>
                <a:lnTo>
                  <a:pt x="1711" y="1634"/>
                </a:lnTo>
                <a:lnTo>
                  <a:pt x="1700" y="1636"/>
                </a:lnTo>
                <a:lnTo>
                  <a:pt x="1689" y="1639"/>
                </a:lnTo>
                <a:lnTo>
                  <a:pt x="1679" y="1642"/>
                </a:lnTo>
                <a:lnTo>
                  <a:pt x="1669" y="1645"/>
                </a:lnTo>
                <a:lnTo>
                  <a:pt x="1659" y="1650"/>
                </a:lnTo>
                <a:lnTo>
                  <a:pt x="1649" y="1655"/>
                </a:lnTo>
                <a:lnTo>
                  <a:pt x="1671" y="1693"/>
                </a:lnTo>
                <a:close/>
                <a:moveTo>
                  <a:pt x="1686" y="1786"/>
                </a:moveTo>
                <a:lnTo>
                  <a:pt x="1686" y="1786"/>
                </a:lnTo>
                <a:lnTo>
                  <a:pt x="1686" y="1780"/>
                </a:lnTo>
                <a:lnTo>
                  <a:pt x="1689" y="1773"/>
                </a:lnTo>
                <a:lnTo>
                  <a:pt x="1692" y="1768"/>
                </a:lnTo>
                <a:lnTo>
                  <a:pt x="1696" y="1763"/>
                </a:lnTo>
                <a:lnTo>
                  <a:pt x="1702" y="1760"/>
                </a:lnTo>
                <a:lnTo>
                  <a:pt x="1708" y="1758"/>
                </a:lnTo>
                <a:lnTo>
                  <a:pt x="1716" y="1755"/>
                </a:lnTo>
                <a:lnTo>
                  <a:pt x="1724" y="1755"/>
                </a:lnTo>
                <a:lnTo>
                  <a:pt x="1724" y="1755"/>
                </a:lnTo>
                <a:lnTo>
                  <a:pt x="1736" y="1755"/>
                </a:lnTo>
                <a:lnTo>
                  <a:pt x="1747" y="1758"/>
                </a:lnTo>
                <a:lnTo>
                  <a:pt x="1757" y="1761"/>
                </a:lnTo>
                <a:lnTo>
                  <a:pt x="1767" y="1766"/>
                </a:lnTo>
                <a:lnTo>
                  <a:pt x="1767" y="1796"/>
                </a:lnTo>
                <a:lnTo>
                  <a:pt x="1767" y="1796"/>
                </a:lnTo>
                <a:lnTo>
                  <a:pt x="1765" y="1801"/>
                </a:lnTo>
                <a:lnTo>
                  <a:pt x="1760" y="1805"/>
                </a:lnTo>
                <a:lnTo>
                  <a:pt x="1756" y="1810"/>
                </a:lnTo>
                <a:lnTo>
                  <a:pt x="1750" y="1813"/>
                </a:lnTo>
                <a:lnTo>
                  <a:pt x="1745" y="1816"/>
                </a:lnTo>
                <a:lnTo>
                  <a:pt x="1738" y="1818"/>
                </a:lnTo>
                <a:lnTo>
                  <a:pt x="1732" y="1819"/>
                </a:lnTo>
                <a:lnTo>
                  <a:pt x="1724" y="1821"/>
                </a:lnTo>
                <a:lnTo>
                  <a:pt x="1724" y="1821"/>
                </a:lnTo>
                <a:lnTo>
                  <a:pt x="1716" y="1819"/>
                </a:lnTo>
                <a:lnTo>
                  <a:pt x="1708" y="1817"/>
                </a:lnTo>
                <a:lnTo>
                  <a:pt x="1702" y="1815"/>
                </a:lnTo>
                <a:lnTo>
                  <a:pt x="1696" y="1811"/>
                </a:lnTo>
                <a:lnTo>
                  <a:pt x="1692" y="1806"/>
                </a:lnTo>
                <a:lnTo>
                  <a:pt x="1689" y="1801"/>
                </a:lnTo>
                <a:lnTo>
                  <a:pt x="1687" y="1794"/>
                </a:lnTo>
                <a:lnTo>
                  <a:pt x="1686" y="1786"/>
                </a:lnTo>
                <a:lnTo>
                  <a:pt x="1686" y="1786"/>
                </a:lnTo>
                <a:close/>
                <a:moveTo>
                  <a:pt x="2333" y="1796"/>
                </a:moveTo>
                <a:lnTo>
                  <a:pt x="2333" y="1796"/>
                </a:lnTo>
                <a:lnTo>
                  <a:pt x="2325" y="1803"/>
                </a:lnTo>
                <a:lnTo>
                  <a:pt x="2315" y="1808"/>
                </a:lnTo>
                <a:lnTo>
                  <a:pt x="2310" y="1811"/>
                </a:lnTo>
                <a:lnTo>
                  <a:pt x="2303" y="1813"/>
                </a:lnTo>
                <a:lnTo>
                  <a:pt x="2297" y="1814"/>
                </a:lnTo>
                <a:lnTo>
                  <a:pt x="2290" y="1815"/>
                </a:lnTo>
                <a:lnTo>
                  <a:pt x="2290" y="1815"/>
                </a:lnTo>
                <a:lnTo>
                  <a:pt x="2285" y="1814"/>
                </a:lnTo>
                <a:lnTo>
                  <a:pt x="2278" y="1814"/>
                </a:lnTo>
                <a:lnTo>
                  <a:pt x="2270" y="1812"/>
                </a:lnTo>
                <a:lnTo>
                  <a:pt x="2261" y="1807"/>
                </a:lnTo>
                <a:lnTo>
                  <a:pt x="2254" y="1802"/>
                </a:lnTo>
                <a:lnTo>
                  <a:pt x="2250" y="1797"/>
                </a:lnTo>
                <a:lnTo>
                  <a:pt x="2247" y="1793"/>
                </a:lnTo>
                <a:lnTo>
                  <a:pt x="2245" y="1787"/>
                </a:lnTo>
                <a:lnTo>
                  <a:pt x="2243" y="1781"/>
                </a:lnTo>
                <a:lnTo>
                  <a:pt x="2242" y="1774"/>
                </a:lnTo>
                <a:lnTo>
                  <a:pt x="2240" y="1766"/>
                </a:lnTo>
                <a:lnTo>
                  <a:pt x="2376" y="1766"/>
                </a:lnTo>
                <a:lnTo>
                  <a:pt x="2376" y="1766"/>
                </a:lnTo>
                <a:lnTo>
                  <a:pt x="2377" y="1750"/>
                </a:lnTo>
                <a:lnTo>
                  <a:pt x="2377" y="1750"/>
                </a:lnTo>
                <a:lnTo>
                  <a:pt x="2377" y="1737"/>
                </a:lnTo>
                <a:lnTo>
                  <a:pt x="2375" y="1725"/>
                </a:lnTo>
                <a:lnTo>
                  <a:pt x="2374" y="1712"/>
                </a:lnTo>
                <a:lnTo>
                  <a:pt x="2371" y="1701"/>
                </a:lnTo>
                <a:lnTo>
                  <a:pt x="2367" y="1691"/>
                </a:lnTo>
                <a:lnTo>
                  <a:pt x="2363" y="1682"/>
                </a:lnTo>
                <a:lnTo>
                  <a:pt x="2357" y="1673"/>
                </a:lnTo>
                <a:lnTo>
                  <a:pt x="2352" y="1665"/>
                </a:lnTo>
                <a:lnTo>
                  <a:pt x="2345" y="1657"/>
                </a:lnTo>
                <a:lnTo>
                  <a:pt x="2339" y="1652"/>
                </a:lnTo>
                <a:lnTo>
                  <a:pt x="2331" y="1646"/>
                </a:lnTo>
                <a:lnTo>
                  <a:pt x="2322" y="1642"/>
                </a:lnTo>
                <a:lnTo>
                  <a:pt x="2313" y="1639"/>
                </a:lnTo>
                <a:lnTo>
                  <a:pt x="2304" y="1635"/>
                </a:lnTo>
                <a:lnTo>
                  <a:pt x="2294" y="1634"/>
                </a:lnTo>
                <a:lnTo>
                  <a:pt x="2283" y="1633"/>
                </a:lnTo>
                <a:lnTo>
                  <a:pt x="2283" y="1633"/>
                </a:lnTo>
                <a:lnTo>
                  <a:pt x="2274" y="1634"/>
                </a:lnTo>
                <a:lnTo>
                  <a:pt x="2264" y="1635"/>
                </a:lnTo>
                <a:lnTo>
                  <a:pt x="2254" y="1639"/>
                </a:lnTo>
                <a:lnTo>
                  <a:pt x="2244" y="1642"/>
                </a:lnTo>
                <a:lnTo>
                  <a:pt x="2235" y="1646"/>
                </a:lnTo>
                <a:lnTo>
                  <a:pt x="2227" y="1653"/>
                </a:lnTo>
                <a:lnTo>
                  <a:pt x="2219" y="1658"/>
                </a:lnTo>
                <a:lnTo>
                  <a:pt x="2213" y="1666"/>
                </a:lnTo>
                <a:lnTo>
                  <a:pt x="2206" y="1674"/>
                </a:lnTo>
                <a:lnTo>
                  <a:pt x="2201" y="1683"/>
                </a:lnTo>
                <a:lnTo>
                  <a:pt x="2196" y="1693"/>
                </a:lnTo>
                <a:lnTo>
                  <a:pt x="2192" y="1703"/>
                </a:lnTo>
                <a:lnTo>
                  <a:pt x="2189" y="1714"/>
                </a:lnTo>
                <a:lnTo>
                  <a:pt x="2186" y="1726"/>
                </a:lnTo>
                <a:lnTo>
                  <a:pt x="2185" y="1737"/>
                </a:lnTo>
                <a:lnTo>
                  <a:pt x="2184" y="1750"/>
                </a:lnTo>
                <a:lnTo>
                  <a:pt x="2184" y="1750"/>
                </a:lnTo>
                <a:lnTo>
                  <a:pt x="2185" y="1762"/>
                </a:lnTo>
                <a:lnTo>
                  <a:pt x="2186" y="1774"/>
                </a:lnTo>
                <a:lnTo>
                  <a:pt x="2189" y="1786"/>
                </a:lnTo>
                <a:lnTo>
                  <a:pt x="2192" y="1797"/>
                </a:lnTo>
                <a:lnTo>
                  <a:pt x="2196" y="1807"/>
                </a:lnTo>
                <a:lnTo>
                  <a:pt x="2201" y="1817"/>
                </a:lnTo>
                <a:lnTo>
                  <a:pt x="2206" y="1826"/>
                </a:lnTo>
                <a:lnTo>
                  <a:pt x="2213" y="1834"/>
                </a:lnTo>
                <a:lnTo>
                  <a:pt x="2221" y="1840"/>
                </a:lnTo>
                <a:lnTo>
                  <a:pt x="2228" y="1847"/>
                </a:lnTo>
                <a:lnTo>
                  <a:pt x="2237" y="1853"/>
                </a:lnTo>
                <a:lnTo>
                  <a:pt x="2246" y="1857"/>
                </a:lnTo>
                <a:lnTo>
                  <a:pt x="2256" y="1860"/>
                </a:lnTo>
                <a:lnTo>
                  <a:pt x="2267" y="1864"/>
                </a:lnTo>
                <a:lnTo>
                  <a:pt x="2278" y="1865"/>
                </a:lnTo>
                <a:lnTo>
                  <a:pt x="2290" y="1866"/>
                </a:lnTo>
                <a:lnTo>
                  <a:pt x="2290" y="1866"/>
                </a:lnTo>
                <a:lnTo>
                  <a:pt x="2301" y="1865"/>
                </a:lnTo>
                <a:lnTo>
                  <a:pt x="2311" y="1864"/>
                </a:lnTo>
                <a:lnTo>
                  <a:pt x="2322" y="1860"/>
                </a:lnTo>
                <a:lnTo>
                  <a:pt x="2332" y="1857"/>
                </a:lnTo>
                <a:lnTo>
                  <a:pt x="2342" y="1851"/>
                </a:lnTo>
                <a:lnTo>
                  <a:pt x="2351" y="1846"/>
                </a:lnTo>
                <a:lnTo>
                  <a:pt x="2360" y="1838"/>
                </a:lnTo>
                <a:lnTo>
                  <a:pt x="2368" y="1830"/>
                </a:lnTo>
                <a:lnTo>
                  <a:pt x="2333" y="1796"/>
                </a:lnTo>
                <a:close/>
                <a:moveTo>
                  <a:pt x="2242" y="1726"/>
                </a:moveTo>
                <a:lnTo>
                  <a:pt x="2242" y="1726"/>
                </a:lnTo>
                <a:lnTo>
                  <a:pt x="2243" y="1716"/>
                </a:lnTo>
                <a:lnTo>
                  <a:pt x="2245" y="1707"/>
                </a:lnTo>
                <a:lnTo>
                  <a:pt x="2248" y="1699"/>
                </a:lnTo>
                <a:lnTo>
                  <a:pt x="2254" y="1693"/>
                </a:lnTo>
                <a:lnTo>
                  <a:pt x="2259" y="1687"/>
                </a:lnTo>
                <a:lnTo>
                  <a:pt x="2266" y="1684"/>
                </a:lnTo>
                <a:lnTo>
                  <a:pt x="2274" y="1680"/>
                </a:lnTo>
                <a:lnTo>
                  <a:pt x="2282" y="1680"/>
                </a:lnTo>
                <a:lnTo>
                  <a:pt x="2282" y="1680"/>
                </a:lnTo>
                <a:lnTo>
                  <a:pt x="2292" y="1682"/>
                </a:lnTo>
                <a:lnTo>
                  <a:pt x="2301" y="1684"/>
                </a:lnTo>
                <a:lnTo>
                  <a:pt x="2308" y="1688"/>
                </a:lnTo>
                <a:lnTo>
                  <a:pt x="2313" y="1695"/>
                </a:lnTo>
                <a:lnTo>
                  <a:pt x="2318" y="1701"/>
                </a:lnTo>
                <a:lnTo>
                  <a:pt x="2321" y="1709"/>
                </a:lnTo>
                <a:lnTo>
                  <a:pt x="2323" y="1718"/>
                </a:lnTo>
                <a:lnTo>
                  <a:pt x="2324" y="1726"/>
                </a:lnTo>
                <a:lnTo>
                  <a:pt x="2242" y="1726"/>
                </a:lnTo>
                <a:close/>
                <a:moveTo>
                  <a:pt x="2864" y="1796"/>
                </a:moveTo>
                <a:lnTo>
                  <a:pt x="2864" y="1796"/>
                </a:lnTo>
                <a:lnTo>
                  <a:pt x="2855" y="1803"/>
                </a:lnTo>
                <a:lnTo>
                  <a:pt x="2846" y="1808"/>
                </a:lnTo>
                <a:lnTo>
                  <a:pt x="2840" y="1811"/>
                </a:lnTo>
                <a:lnTo>
                  <a:pt x="2834" y="1813"/>
                </a:lnTo>
                <a:lnTo>
                  <a:pt x="2828" y="1814"/>
                </a:lnTo>
                <a:lnTo>
                  <a:pt x="2820" y="1815"/>
                </a:lnTo>
                <a:lnTo>
                  <a:pt x="2820" y="1815"/>
                </a:lnTo>
                <a:lnTo>
                  <a:pt x="2814" y="1814"/>
                </a:lnTo>
                <a:lnTo>
                  <a:pt x="2808" y="1814"/>
                </a:lnTo>
                <a:lnTo>
                  <a:pt x="2800" y="1812"/>
                </a:lnTo>
                <a:lnTo>
                  <a:pt x="2792" y="1807"/>
                </a:lnTo>
                <a:lnTo>
                  <a:pt x="2784" y="1802"/>
                </a:lnTo>
                <a:lnTo>
                  <a:pt x="2781" y="1797"/>
                </a:lnTo>
                <a:lnTo>
                  <a:pt x="2778" y="1793"/>
                </a:lnTo>
                <a:lnTo>
                  <a:pt x="2776" y="1787"/>
                </a:lnTo>
                <a:lnTo>
                  <a:pt x="2773" y="1781"/>
                </a:lnTo>
                <a:lnTo>
                  <a:pt x="2771" y="1774"/>
                </a:lnTo>
                <a:lnTo>
                  <a:pt x="2770" y="1766"/>
                </a:lnTo>
                <a:lnTo>
                  <a:pt x="2907" y="1766"/>
                </a:lnTo>
                <a:lnTo>
                  <a:pt x="2907" y="1766"/>
                </a:lnTo>
                <a:lnTo>
                  <a:pt x="2908" y="1750"/>
                </a:lnTo>
                <a:lnTo>
                  <a:pt x="2908" y="1750"/>
                </a:lnTo>
                <a:lnTo>
                  <a:pt x="2907" y="1737"/>
                </a:lnTo>
                <a:lnTo>
                  <a:pt x="2906" y="1725"/>
                </a:lnTo>
                <a:lnTo>
                  <a:pt x="2904" y="1712"/>
                </a:lnTo>
                <a:lnTo>
                  <a:pt x="2901" y="1701"/>
                </a:lnTo>
                <a:lnTo>
                  <a:pt x="2897" y="1691"/>
                </a:lnTo>
                <a:lnTo>
                  <a:pt x="2893" y="1682"/>
                </a:lnTo>
                <a:lnTo>
                  <a:pt x="2888" y="1673"/>
                </a:lnTo>
                <a:lnTo>
                  <a:pt x="2883" y="1665"/>
                </a:lnTo>
                <a:lnTo>
                  <a:pt x="2876" y="1657"/>
                </a:lnTo>
                <a:lnTo>
                  <a:pt x="2868" y="1652"/>
                </a:lnTo>
                <a:lnTo>
                  <a:pt x="2861" y="1646"/>
                </a:lnTo>
                <a:lnTo>
                  <a:pt x="2853" y="1642"/>
                </a:lnTo>
                <a:lnTo>
                  <a:pt x="2844" y="1639"/>
                </a:lnTo>
                <a:lnTo>
                  <a:pt x="2834" y="1635"/>
                </a:lnTo>
                <a:lnTo>
                  <a:pt x="2824" y="1634"/>
                </a:lnTo>
                <a:lnTo>
                  <a:pt x="2814" y="1633"/>
                </a:lnTo>
                <a:lnTo>
                  <a:pt x="2814" y="1633"/>
                </a:lnTo>
                <a:lnTo>
                  <a:pt x="2803" y="1634"/>
                </a:lnTo>
                <a:lnTo>
                  <a:pt x="2793" y="1635"/>
                </a:lnTo>
                <a:lnTo>
                  <a:pt x="2783" y="1639"/>
                </a:lnTo>
                <a:lnTo>
                  <a:pt x="2775" y="1642"/>
                </a:lnTo>
                <a:lnTo>
                  <a:pt x="2766" y="1646"/>
                </a:lnTo>
                <a:lnTo>
                  <a:pt x="2757" y="1653"/>
                </a:lnTo>
                <a:lnTo>
                  <a:pt x="2750" y="1658"/>
                </a:lnTo>
                <a:lnTo>
                  <a:pt x="2743" y="1666"/>
                </a:lnTo>
                <a:lnTo>
                  <a:pt x="2736" y="1674"/>
                </a:lnTo>
                <a:lnTo>
                  <a:pt x="2730" y="1683"/>
                </a:lnTo>
                <a:lnTo>
                  <a:pt x="2726" y="1693"/>
                </a:lnTo>
                <a:lnTo>
                  <a:pt x="2722" y="1703"/>
                </a:lnTo>
                <a:lnTo>
                  <a:pt x="2719" y="1714"/>
                </a:lnTo>
                <a:lnTo>
                  <a:pt x="2716" y="1726"/>
                </a:lnTo>
                <a:lnTo>
                  <a:pt x="2715" y="1737"/>
                </a:lnTo>
                <a:lnTo>
                  <a:pt x="2715" y="1750"/>
                </a:lnTo>
                <a:lnTo>
                  <a:pt x="2715" y="1750"/>
                </a:lnTo>
                <a:lnTo>
                  <a:pt x="2715" y="1762"/>
                </a:lnTo>
                <a:lnTo>
                  <a:pt x="2716" y="1774"/>
                </a:lnTo>
                <a:lnTo>
                  <a:pt x="2718" y="1786"/>
                </a:lnTo>
                <a:lnTo>
                  <a:pt x="2722" y="1797"/>
                </a:lnTo>
                <a:lnTo>
                  <a:pt x="2726" y="1807"/>
                </a:lnTo>
                <a:lnTo>
                  <a:pt x="2732" y="1817"/>
                </a:lnTo>
                <a:lnTo>
                  <a:pt x="2737" y="1826"/>
                </a:lnTo>
                <a:lnTo>
                  <a:pt x="2744" y="1834"/>
                </a:lnTo>
                <a:lnTo>
                  <a:pt x="2750" y="1840"/>
                </a:lnTo>
                <a:lnTo>
                  <a:pt x="2758" y="1847"/>
                </a:lnTo>
                <a:lnTo>
                  <a:pt x="2767" y="1853"/>
                </a:lnTo>
                <a:lnTo>
                  <a:pt x="2777" y="1857"/>
                </a:lnTo>
                <a:lnTo>
                  <a:pt x="2787" y="1860"/>
                </a:lnTo>
                <a:lnTo>
                  <a:pt x="2797" y="1864"/>
                </a:lnTo>
                <a:lnTo>
                  <a:pt x="2809" y="1865"/>
                </a:lnTo>
                <a:lnTo>
                  <a:pt x="2820" y="1866"/>
                </a:lnTo>
                <a:lnTo>
                  <a:pt x="2820" y="1866"/>
                </a:lnTo>
                <a:lnTo>
                  <a:pt x="2831" y="1865"/>
                </a:lnTo>
                <a:lnTo>
                  <a:pt x="2842" y="1864"/>
                </a:lnTo>
                <a:lnTo>
                  <a:pt x="2852" y="1860"/>
                </a:lnTo>
                <a:lnTo>
                  <a:pt x="2862" y="1857"/>
                </a:lnTo>
                <a:lnTo>
                  <a:pt x="2872" y="1851"/>
                </a:lnTo>
                <a:lnTo>
                  <a:pt x="2882" y="1846"/>
                </a:lnTo>
                <a:lnTo>
                  <a:pt x="2890" y="1838"/>
                </a:lnTo>
                <a:lnTo>
                  <a:pt x="2898" y="1830"/>
                </a:lnTo>
                <a:lnTo>
                  <a:pt x="2864" y="1796"/>
                </a:lnTo>
                <a:close/>
                <a:moveTo>
                  <a:pt x="2771" y="1726"/>
                </a:moveTo>
                <a:lnTo>
                  <a:pt x="2771" y="1726"/>
                </a:lnTo>
                <a:lnTo>
                  <a:pt x="2772" y="1716"/>
                </a:lnTo>
                <a:lnTo>
                  <a:pt x="2776" y="1707"/>
                </a:lnTo>
                <a:lnTo>
                  <a:pt x="2779" y="1699"/>
                </a:lnTo>
                <a:lnTo>
                  <a:pt x="2783" y="1693"/>
                </a:lnTo>
                <a:lnTo>
                  <a:pt x="2790" y="1687"/>
                </a:lnTo>
                <a:lnTo>
                  <a:pt x="2797" y="1684"/>
                </a:lnTo>
                <a:lnTo>
                  <a:pt x="2804" y="1680"/>
                </a:lnTo>
                <a:lnTo>
                  <a:pt x="2813" y="1680"/>
                </a:lnTo>
                <a:lnTo>
                  <a:pt x="2813" y="1680"/>
                </a:lnTo>
                <a:lnTo>
                  <a:pt x="2823" y="1682"/>
                </a:lnTo>
                <a:lnTo>
                  <a:pt x="2831" y="1684"/>
                </a:lnTo>
                <a:lnTo>
                  <a:pt x="2839" y="1688"/>
                </a:lnTo>
                <a:lnTo>
                  <a:pt x="2844" y="1695"/>
                </a:lnTo>
                <a:lnTo>
                  <a:pt x="2849" y="1701"/>
                </a:lnTo>
                <a:lnTo>
                  <a:pt x="2852" y="1709"/>
                </a:lnTo>
                <a:lnTo>
                  <a:pt x="2854" y="1718"/>
                </a:lnTo>
                <a:lnTo>
                  <a:pt x="2855" y="1726"/>
                </a:lnTo>
                <a:lnTo>
                  <a:pt x="2771" y="1726"/>
                </a:lnTo>
                <a:close/>
                <a:moveTo>
                  <a:pt x="2639" y="1783"/>
                </a:moveTo>
                <a:lnTo>
                  <a:pt x="2639" y="1783"/>
                </a:lnTo>
                <a:lnTo>
                  <a:pt x="2639" y="1791"/>
                </a:lnTo>
                <a:lnTo>
                  <a:pt x="2640" y="1796"/>
                </a:lnTo>
                <a:lnTo>
                  <a:pt x="2642" y="1802"/>
                </a:lnTo>
                <a:lnTo>
                  <a:pt x="2644" y="1806"/>
                </a:lnTo>
                <a:lnTo>
                  <a:pt x="2648" y="1810"/>
                </a:lnTo>
                <a:lnTo>
                  <a:pt x="2652" y="1812"/>
                </a:lnTo>
                <a:lnTo>
                  <a:pt x="2656" y="1813"/>
                </a:lnTo>
                <a:lnTo>
                  <a:pt x="2663" y="1813"/>
                </a:lnTo>
                <a:lnTo>
                  <a:pt x="2663" y="1813"/>
                </a:lnTo>
                <a:lnTo>
                  <a:pt x="2671" y="1813"/>
                </a:lnTo>
                <a:lnTo>
                  <a:pt x="2680" y="1811"/>
                </a:lnTo>
                <a:lnTo>
                  <a:pt x="2688" y="1807"/>
                </a:lnTo>
                <a:lnTo>
                  <a:pt x="2696" y="1803"/>
                </a:lnTo>
                <a:lnTo>
                  <a:pt x="2690" y="1855"/>
                </a:lnTo>
                <a:lnTo>
                  <a:pt x="2690" y="1855"/>
                </a:lnTo>
                <a:lnTo>
                  <a:pt x="2680" y="1859"/>
                </a:lnTo>
                <a:lnTo>
                  <a:pt x="2668" y="1862"/>
                </a:lnTo>
                <a:lnTo>
                  <a:pt x="2655" y="1865"/>
                </a:lnTo>
                <a:lnTo>
                  <a:pt x="2643" y="1866"/>
                </a:lnTo>
                <a:lnTo>
                  <a:pt x="2643" y="1866"/>
                </a:lnTo>
                <a:lnTo>
                  <a:pt x="2636" y="1865"/>
                </a:lnTo>
                <a:lnTo>
                  <a:pt x="2628" y="1864"/>
                </a:lnTo>
                <a:lnTo>
                  <a:pt x="2621" y="1861"/>
                </a:lnTo>
                <a:lnTo>
                  <a:pt x="2616" y="1859"/>
                </a:lnTo>
                <a:lnTo>
                  <a:pt x="2610" y="1856"/>
                </a:lnTo>
                <a:lnTo>
                  <a:pt x="2605" y="1853"/>
                </a:lnTo>
                <a:lnTo>
                  <a:pt x="2601" y="1848"/>
                </a:lnTo>
                <a:lnTo>
                  <a:pt x="2597" y="1843"/>
                </a:lnTo>
                <a:lnTo>
                  <a:pt x="2591" y="1833"/>
                </a:lnTo>
                <a:lnTo>
                  <a:pt x="2587" y="1821"/>
                </a:lnTo>
                <a:lnTo>
                  <a:pt x="2585" y="1810"/>
                </a:lnTo>
                <a:lnTo>
                  <a:pt x="2584" y="1797"/>
                </a:lnTo>
                <a:lnTo>
                  <a:pt x="2584" y="1689"/>
                </a:lnTo>
                <a:lnTo>
                  <a:pt x="2549" y="1689"/>
                </a:lnTo>
                <a:lnTo>
                  <a:pt x="2549" y="1639"/>
                </a:lnTo>
                <a:lnTo>
                  <a:pt x="2584" y="1639"/>
                </a:lnTo>
                <a:lnTo>
                  <a:pt x="2584" y="1581"/>
                </a:lnTo>
                <a:lnTo>
                  <a:pt x="2639" y="1554"/>
                </a:lnTo>
                <a:lnTo>
                  <a:pt x="2639" y="1639"/>
                </a:lnTo>
                <a:lnTo>
                  <a:pt x="2688" y="1639"/>
                </a:lnTo>
                <a:lnTo>
                  <a:pt x="2688" y="1689"/>
                </a:lnTo>
                <a:lnTo>
                  <a:pt x="2639" y="1689"/>
                </a:lnTo>
                <a:lnTo>
                  <a:pt x="2639" y="1783"/>
                </a:lnTo>
                <a:close/>
                <a:moveTo>
                  <a:pt x="2532" y="1855"/>
                </a:moveTo>
                <a:lnTo>
                  <a:pt x="2532" y="1855"/>
                </a:lnTo>
                <a:lnTo>
                  <a:pt x="2522" y="1859"/>
                </a:lnTo>
                <a:lnTo>
                  <a:pt x="2511" y="1862"/>
                </a:lnTo>
                <a:lnTo>
                  <a:pt x="2499" y="1865"/>
                </a:lnTo>
                <a:lnTo>
                  <a:pt x="2487" y="1866"/>
                </a:lnTo>
                <a:lnTo>
                  <a:pt x="2487" y="1866"/>
                </a:lnTo>
                <a:lnTo>
                  <a:pt x="2478" y="1865"/>
                </a:lnTo>
                <a:lnTo>
                  <a:pt x="2471" y="1864"/>
                </a:lnTo>
                <a:lnTo>
                  <a:pt x="2464" y="1861"/>
                </a:lnTo>
                <a:lnTo>
                  <a:pt x="2458" y="1859"/>
                </a:lnTo>
                <a:lnTo>
                  <a:pt x="2453" y="1856"/>
                </a:lnTo>
                <a:lnTo>
                  <a:pt x="2448" y="1853"/>
                </a:lnTo>
                <a:lnTo>
                  <a:pt x="2443" y="1848"/>
                </a:lnTo>
                <a:lnTo>
                  <a:pt x="2440" y="1843"/>
                </a:lnTo>
                <a:lnTo>
                  <a:pt x="2434" y="1833"/>
                </a:lnTo>
                <a:lnTo>
                  <a:pt x="2430" y="1821"/>
                </a:lnTo>
                <a:lnTo>
                  <a:pt x="2427" y="1810"/>
                </a:lnTo>
                <a:lnTo>
                  <a:pt x="2427" y="1797"/>
                </a:lnTo>
                <a:lnTo>
                  <a:pt x="2427" y="1689"/>
                </a:lnTo>
                <a:lnTo>
                  <a:pt x="2393" y="1689"/>
                </a:lnTo>
                <a:lnTo>
                  <a:pt x="2393" y="1639"/>
                </a:lnTo>
                <a:lnTo>
                  <a:pt x="2427" y="1639"/>
                </a:lnTo>
                <a:lnTo>
                  <a:pt x="2427" y="1581"/>
                </a:lnTo>
                <a:lnTo>
                  <a:pt x="2482" y="1554"/>
                </a:lnTo>
                <a:lnTo>
                  <a:pt x="2482" y="1639"/>
                </a:lnTo>
                <a:lnTo>
                  <a:pt x="2528" y="1639"/>
                </a:lnTo>
                <a:lnTo>
                  <a:pt x="2528" y="1689"/>
                </a:lnTo>
                <a:lnTo>
                  <a:pt x="2482" y="1689"/>
                </a:lnTo>
                <a:lnTo>
                  <a:pt x="2482" y="1783"/>
                </a:lnTo>
                <a:lnTo>
                  <a:pt x="2482" y="1783"/>
                </a:lnTo>
                <a:lnTo>
                  <a:pt x="2482" y="1791"/>
                </a:lnTo>
                <a:lnTo>
                  <a:pt x="2483" y="1796"/>
                </a:lnTo>
                <a:lnTo>
                  <a:pt x="2485" y="1802"/>
                </a:lnTo>
                <a:lnTo>
                  <a:pt x="2488" y="1806"/>
                </a:lnTo>
                <a:lnTo>
                  <a:pt x="2491" y="1810"/>
                </a:lnTo>
                <a:lnTo>
                  <a:pt x="2495" y="1812"/>
                </a:lnTo>
                <a:lnTo>
                  <a:pt x="2500" y="1813"/>
                </a:lnTo>
                <a:lnTo>
                  <a:pt x="2505" y="1813"/>
                </a:lnTo>
                <a:lnTo>
                  <a:pt x="2505" y="1813"/>
                </a:lnTo>
                <a:lnTo>
                  <a:pt x="2514" y="1813"/>
                </a:lnTo>
                <a:lnTo>
                  <a:pt x="2523" y="1811"/>
                </a:lnTo>
                <a:lnTo>
                  <a:pt x="2531" y="1807"/>
                </a:lnTo>
                <a:lnTo>
                  <a:pt x="2538" y="1803"/>
                </a:lnTo>
                <a:lnTo>
                  <a:pt x="2532" y="1855"/>
                </a:lnTo>
                <a:close/>
                <a:moveTo>
                  <a:pt x="3074" y="1700"/>
                </a:moveTo>
                <a:lnTo>
                  <a:pt x="3074" y="1700"/>
                </a:lnTo>
                <a:lnTo>
                  <a:pt x="3066" y="1695"/>
                </a:lnTo>
                <a:lnTo>
                  <a:pt x="3057" y="1691"/>
                </a:lnTo>
                <a:lnTo>
                  <a:pt x="3047" y="1689"/>
                </a:lnTo>
                <a:lnTo>
                  <a:pt x="3037" y="1688"/>
                </a:lnTo>
                <a:lnTo>
                  <a:pt x="3037" y="1688"/>
                </a:lnTo>
                <a:lnTo>
                  <a:pt x="3028" y="1689"/>
                </a:lnTo>
                <a:lnTo>
                  <a:pt x="3020" y="1691"/>
                </a:lnTo>
                <a:lnTo>
                  <a:pt x="3013" y="1696"/>
                </a:lnTo>
                <a:lnTo>
                  <a:pt x="3007" y="1701"/>
                </a:lnTo>
                <a:lnTo>
                  <a:pt x="3003" y="1708"/>
                </a:lnTo>
                <a:lnTo>
                  <a:pt x="3001" y="1717"/>
                </a:lnTo>
                <a:lnTo>
                  <a:pt x="2999" y="1728"/>
                </a:lnTo>
                <a:lnTo>
                  <a:pt x="2998" y="1740"/>
                </a:lnTo>
                <a:lnTo>
                  <a:pt x="2998" y="1860"/>
                </a:lnTo>
                <a:lnTo>
                  <a:pt x="2943" y="1860"/>
                </a:lnTo>
                <a:lnTo>
                  <a:pt x="2943" y="1639"/>
                </a:lnTo>
                <a:lnTo>
                  <a:pt x="2998" y="1639"/>
                </a:lnTo>
                <a:lnTo>
                  <a:pt x="2998" y="1657"/>
                </a:lnTo>
                <a:lnTo>
                  <a:pt x="2998" y="1657"/>
                </a:lnTo>
                <a:lnTo>
                  <a:pt x="3003" y="1652"/>
                </a:lnTo>
                <a:lnTo>
                  <a:pt x="3009" y="1646"/>
                </a:lnTo>
                <a:lnTo>
                  <a:pt x="3014" y="1643"/>
                </a:lnTo>
                <a:lnTo>
                  <a:pt x="3021" y="1640"/>
                </a:lnTo>
                <a:lnTo>
                  <a:pt x="3026" y="1636"/>
                </a:lnTo>
                <a:lnTo>
                  <a:pt x="3033" y="1635"/>
                </a:lnTo>
                <a:lnTo>
                  <a:pt x="3039" y="1634"/>
                </a:lnTo>
                <a:lnTo>
                  <a:pt x="3047" y="1633"/>
                </a:lnTo>
                <a:lnTo>
                  <a:pt x="3047" y="1633"/>
                </a:lnTo>
                <a:lnTo>
                  <a:pt x="3058" y="1634"/>
                </a:lnTo>
                <a:lnTo>
                  <a:pt x="3069" y="1637"/>
                </a:lnTo>
                <a:lnTo>
                  <a:pt x="3079" y="1641"/>
                </a:lnTo>
                <a:lnTo>
                  <a:pt x="3088" y="1646"/>
                </a:lnTo>
                <a:lnTo>
                  <a:pt x="3074" y="1700"/>
                </a:lnTo>
                <a:close/>
                <a:moveTo>
                  <a:pt x="593" y="1579"/>
                </a:moveTo>
                <a:lnTo>
                  <a:pt x="593" y="1607"/>
                </a:lnTo>
                <a:lnTo>
                  <a:pt x="537" y="1607"/>
                </a:lnTo>
                <a:lnTo>
                  <a:pt x="537" y="1551"/>
                </a:lnTo>
                <a:lnTo>
                  <a:pt x="593" y="1551"/>
                </a:lnTo>
                <a:lnTo>
                  <a:pt x="593" y="1579"/>
                </a:lnTo>
                <a:close/>
                <a:moveTo>
                  <a:pt x="975" y="1639"/>
                </a:moveTo>
                <a:lnTo>
                  <a:pt x="1030" y="1639"/>
                </a:lnTo>
                <a:lnTo>
                  <a:pt x="1030" y="1738"/>
                </a:lnTo>
                <a:lnTo>
                  <a:pt x="1030" y="1860"/>
                </a:lnTo>
                <a:lnTo>
                  <a:pt x="975" y="1860"/>
                </a:lnTo>
                <a:lnTo>
                  <a:pt x="975" y="1639"/>
                </a:lnTo>
                <a:close/>
                <a:moveTo>
                  <a:pt x="1030" y="1579"/>
                </a:moveTo>
                <a:lnTo>
                  <a:pt x="1030" y="1607"/>
                </a:lnTo>
                <a:lnTo>
                  <a:pt x="975" y="1607"/>
                </a:lnTo>
                <a:lnTo>
                  <a:pt x="975" y="1551"/>
                </a:lnTo>
                <a:lnTo>
                  <a:pt x="1030" y="1551"/>
                </a:lnTo>
                <a:lnTo>
                  <a:pt x="1030" y="1579"/>
                </a:lnTo>
                <a:close/>
                <a:moveTo>
                  <a:pt x="2539" y="2042"/>
                </a:moveTo>
                <a:lnTo>
                  <a:pt x="2539" y="2042"/>
                </a:lnTo>
                <a:lnTo>
                  <a:pt x="2534" y="2038"/>
                </a:lnTo>
                <a:lnTo>
                  <a:pt x="2528" y="2033"/>
                </a:lnTo>
                <a:lnTo>
                  <a:pt x="2523" y="2030"/>
                </a:lnTo>
                <a:lnTo>
                  <a:pt x="2516" y="2027"/>
                </a:lnTo>
                <a:lnTo>
                  <a:pt x="2511" y="2025"/>
                </a:lnTo>
                <a:lnTo>
                  <a:pt x="2504" y="2024"/>
                </a:lnTo>
                <a:lnTo>
                  <a:pt x="2490" y="2021"/>
                </a:lnTo>
                <a:lnTo>
                  <a:pt x="2490" y="2021"/>
                </a:lnTo>
                <a:lnTo>
                  <a:pt x="2480" y="2022"/>
                </a:lnTo>
                <a:lnTo>
                  <a:pt x="2471" y="2024"/>
                </a:lnTo>
                <a:lnTo>
                  <a:pt x="2462" y="2027"/>
                </a:lnTo>
                <a:lnTo>
                  <a:pt x="2453" y="2030"/>
                </a:lnTo>
                <a:lnTo>
                  <a:pt x="2446" y="2035"/>
                </a:lnTo>
                <a:lnTo>
                  <a:pt x="2439" y="2039"/>
                </a:lnTo>
                <a:lnTo>
                  <a:pt x="2432" y="2046"/>
                </a:lnTo>
                <a:lnTo>
                  <a:pt x="2426" y="2052"/>
                </a:lnTo>
                <a:lnTo>
                  <a:pt x="2421" y="2060"/>
                </a:lnTo>
                <a:lnTo>
                  <a:pt x="2416" y="2069"/>
                </a:lnTo>
                <a:lnTo>
                  <a:pt x="2413" y="2078"/>
                </a:lnTo>
                <a:lnTo>
                  <a:pt x="2409" y="2089"/>
                </a:lnTo>
                <a:lnTo>
                  <a:pt x="2406" y="2099"/>
                </a:lnTo>
                <a:lnTo>
                  <a:pt x="2405" y="2111"/>
                </a:lnTo>
                <a:lnTo>
                  <a:pt x="2404" y="2123"/>
                </a:lnTo>
                <a:lnTo>
                  <a:pt x="2403" y="2136"/>
                </a:lnTo>
                <a:lnTo>
                  <a:pt x="2403" y="2136"/>
                </a:lnTo>
                <a:lnTo>
                  <a:pt x="2404" y="2149"/>
                </a:lnTo>
                <a:lnTo>
                  <a:pt x="2405" y="2161"/>
                </a:lnTo>
                <a:lnTo>
                  <a:pt x="2406" y="2174"/>
                </a:lnTo>
                <a:lnTo>
                  <a:pt x="2409" y="2186"/>
                </a:lnTo>
                <a:lnTo>
                  <a:pt x="2411" y="2196"/>
                </a:lnTo>
                <a:lnTo>
                  <a:pt x="2416" y="2206"/>
                </a:lnTo>
                <a:lnTo>
                  <a:pt x="2420" y="2214"/>
                </a:lnTo>
                <a:lnTo>
                  <a:pt x="2426" y="2222"/>
                </a:lnTo>
                <a:lnTo>
                  <a:pt x="2431" y="2230"/>
                </a:lnTo>
                <a:lnTo>
                  <a:pt x="2438" y="2235"/>
                </a:lnTo>
                <a:lnTo>
                  <a:pt x="2445" y="2241"/>
                </a:lnTo>
                <a:lnTo>
                  <a:pt x="2452" y="2245"/>
                </a:lnTo>
                <a:lnTo>
                  <a:pt x="2461" y="2250"/>
                </a:lnTo>
                <a:lnTo>
                  <a:pt x="2470" y="2252"/>
                </a:lnTo>
                <a:lnTo>
                  <a:pt x="2479" y="2253"/>
                </a:lnTo>
                <a:lnTo>
                  <a:pt x="2489" y="2254"/>
                </a:lnTo>
                <a:lnTo>
                  <a:pt x="2489" y="2254"/>
                </a:lnTo>
                <a:lnTo>
                  <a:pt x="2495" y="2253"/>
                </a:lnTo>
                <a:lnTo>
                  <a:pt x="2503" y="2252"/>
                </a:lnTo>
                <a:lnTo>
                  <a:pt x="2510" y="2251"/>
                </a:lnTo>
                <a:lnTo>
                  <a:pt x="2515" y="2249"/>
                </a:lnTo>
                <a:lnTo>
                  <a:pt x="2522" y="2245"/>
                </a:lnTo>
                <a:lnTo>
                  <a:pt x="2528" y="2242"/>
                </a:lnTo>
                <a:lnTo>
                  <a:pt x="2534" y="2238"/>
                </a:lnTo>
                <a:lnTo>
                  <a:pt x="2539" y="2232"/>
                </a:lnTo>
                <a:lnTo>
                  <a:pt x="2539" y="2249"/>
                </a:lnTo>
                <a:lnTo>
                  <a:pt x="2595" y="2249"/>
                </a:lnTo>
                <a:lnTo>
                  <a:pt x="2595" y="1934"/>
                </a:lnTo>
                <a:lnTo>
                  <a:pt x="2539" y="1962"/>
                </a:lnTo>
                <a:lnTo>
                  <a:pt x="2539" y="2042"/>
                </a:lnTo>
                <a:close/>
                <a:moveTo>
                  <a:pt x="2501" y="2203"/>
                </a:moveTo>
                <a:lnTo>
                  <a:pt x="2501" y="2203"/>
                </a:lnTo>
                <a:lnTo>
                  <a:pt x="2493" y="2202"/>
                </a:lnTo>
                <a:lnTo>
                  <a:pt x="2487" y="2200"/>
                </a:lnTo>
                <a:lnTo>
                  <a:pt x="2479" y="2197"/>
                </a:lnTo>
                <a:lnTo>
                  <a:pt x="2472" y="2190"/>
                </a:lnTo>
                <a:lnTo>
                  <a:pt x="2467" y="2181"/>
                </a:lnTo>
                <a:lnTo>
                  <a:pt x="2462" y="2169"/>
                </a:lnTo>
                <a:lnTo>
                  <a:pt x="2460" y="2154"/>
                </a:lnTo>
                <a:lnTo>
                  <a:pt x="2459" y="2134"/>
                </a:lnTo>
                <a:lnTo>
                  <a:pt x="2459" y="2134"/>
                </a:lnTo>
                <a:lnTo>
                  <a:pt x="2460" y="2117"/>
                </a:lnTo>
                <a:lnTo>
                  <a:pt x="2462" y="2103"/>
                </a:lnTo>
                <a:lnTo>
                  <a:pt x="2467" y="2092"/>
                </a:lnTo>
                <a:lnTo>
                  <a:pt x="2472" y="2084"/>
                </a:lnTo>
                <a:lnTo>
                  <a:pt x="2479" y="2079"/>
                </a:lnTo>
                <a:lnTo>
                  <a:pt x="2485" y="2074"/>
                </a:lnTo>
                <a:lnTo>
                  <a:pt x="2493" y="2073"/>
                </a:lnTo>
                <a:lnTo>
                  <a:pt x="2500" y="2072"/>
                </a:lnTo>
                <a:lnTo>
                  <a:pt x="2500" y="2072"/>
                </a:lnTo>
                <a:lnTo>
                  <a:pt x="2507" y="2073"/>
                </a:lnTo>
                <a:lnTo>
                  <a:pt x="2514" y="2074"/>
                </a:lnTo>
                <a:lnTo>
                  <a:pt x="2520" y="2076"/>
                </a:lnTo>
                <a:lnTo>
                  <a:pt x="2525" y="2080"/>
                </a:lnTo>
                <a:lnTo>
                  <a:pt x="2530" y="2083"/>
                </a:lnTo>
                <a:lnTo>
                  <a:pt x="2534" y="2086"/>
                </a:lnTo>
                <a:lnTo>
                  <a:pt x="2539" y="2094"/>
                </a:lnTo>
                <a:lnTo>
                  <a:pt x="2539" y="2181"/>
                </a:lnTo>
                <a:lnTo>
                  <a:pt x="2539" y="2181"/>
                </a:lnTo>
                <a:lnTo>
                  <a:pt x="2533" y="2189"/>
                </a:lnTo>
                <a:lnTo>
                  <a:pt x="2525" y="2196"/>
                </a:lnTo>
                <a:lnTo>
                  <a:pt x="2520" y="2199"/>
                </a:lnTo>
                <a:lnTo>
                  <a:pt x="2514" y="2201"/>
                </a:lnTo>
                <a:lnTo>
                  <a:pt x="2507" y="2202"/>
                </a:lnTo>
                <a:lnTo>
                  <a:pt x="2501" y="2203"/>
                </a:lnTo>
                <a:lnTo>
                  <a:pt x="2501" y="2203"/>
                </a:lnTo>
                <a:close/>
                <a:moveTo>
                  <a:pt x="672" y="2089"/>
                </a:moveTo>
                <a:lnTo>
                  <a:pt x="672" y="2089"/>
                </a:lnTo>
                <a:lnTo>
                  <a:pt x="664" y="2084"/>
                </a:lnTo>
                <a:lnTo>
                  <a:pt x="656" y="2080"/>
                </a:lnTo>
                <a:lnTo>
                  <a:pt x="646" y="2078"/>
                </a:lnTo>
                <a:lnTo>
                  <a:pt x="636" y="2076"/>
                </a:lnTo>
                <a:lnTo>
                  <a:pt x="636" y="2076"/>
                </a:lnTo>
                <a:lnTo>
                  <a:pt x="627" y="2078"/>
                </a:lnTo>
                <a:lnTo>
                  <a:pt x="618" y="2080"/>
                </a:lnTo>
                <a:lnTo>
                  <a:pt x="611" y="2084"/>
                </a:lnTo>
                <a:lnTo>
                  <a:pt x="606" y="2090"/>
                </a:lnTo>
                <a:lnTo>
                  <a:pt x="601" y="2096"/>
                </a:lnTo>
                <a:lnTo>
                  <a:pt x="599" y="2105"/>
                </a:lnTo>
                <a:lnTo>
                  <a:pt x="597" y="2116"/>
                </a:lnTo>
                <a:lnTo>
                  <a:pt x="596" y="2128"/>
                </a:lnTo>
                <a:lnTo>
                  <a:pt x="596" y="2249"/>
                </a:lnTo>
                <a:lnTo>
                  <a:pt x="542" y="2249"/>
                </a:lnTo>
                <a:lnTo>
                  <a:pt x="542" y="2027"/>
                </a:lnTo>
                <a:lnTo>
                  <a:pt x="596" y="2027"/>
                </a:lnTo>
                <a:lnTo>
                  <a:pt x="596" y="2046"/>
                </a:lnTo>
                <a:lnTo>
                  <a:pt x="596" y="2046"/>
                </a:lnTo>
                <a:lnTo>
                  <a:pt x="601" y="2040"/>
                </a:lnTo>
                <a:lnTo>
                  <a:pt x="607" y="2035"/>
                </a:lnTo>
                <a:lnTo>
                  <a:pt x="613" y="2031"/>
                </a:lnTo>
                <a:lnTo>
                  <a:pt x="619" y="2028"/>
                </a:lnTo>
                <a:lnTo>
                  <a:pt x="625" y="2025"/>
                </a:lnTo>
                <a:lnTo>
                  <a:pt x="631" y="2024"/>
                </a:lnTo>
                <a:lnTo>
                  <a:pt x="639" y="2022"/>
                </a:lnTo>
                <a:lnTo>
                  <a:pt x="646" y="2021"/>
                </a:lnTo>
                <a:lnTo>
                  <a:pt x="646" y="2021"/>
                </a:lnTo>
                <a:lnTo>
                  <a:pt x="657" y="2022"/>
                </a:lnTo>
                <a:lnTo>
                  <a:pt x="668" y="2026"/>
                </a:lnTo>
                <a:lnTo>
                  <a:pt x="679" y="2030"/>
                </a:lnTo>
                <a:lnTo>
                  <a:pt x="688" y="2036"/>
                </a:lnTo>
                <a:lnTo>
                  <a:pt x="672" y="2089"/>
                </a:lnTo>
                <a:close/>
                <a:moveTo>
                  <a:pt x="241" y="2027"/>
                </a:moveTo>
                <a:lnTo>
                  <a:pt x="295" y="2027"/>
                </a:lnTo>
                <a:lnTo>
                  <a:pt x="232" y="2249"/>
                </a:lnTo>
                <a:lnTo>
                  <a:pt x="184" y="2249"/>
                </a:lnTo>
                <a:lnTo>
                  <a:pt x="160" y="2157"/>
                </a:lnTo>
                <a:lnTo>
                  <a:pt x="160" y="2157"/>
                </a:lnTo>
                <a:lnTo>
                  <a:pt x="148" y="2108"/>
                </a:lnTo>
                <a:lnTo>
                  <a:pt x="148" y="2108"/>
                </a:lnTo>
                <a:lnTo>
                  <a:pt x="142" y="2132"/>
                </a:lnTo>
                <a:lnTo>
                  <a:pt x="136" y="2158"/>
                </a:lnTo>
                <a:lnTo>
                  <a:pt x="110" y="2249"/>
                </a:lnTo>
                <a:lnTo>
                  <a:pt x="63" y="2249"/>
                </a:lnTo>
                <a:lnTo>
                  <a:pt x="63" y="2247"/>
                </a:lnTo>
                <a:lnTo>
                  <a:pt x="0" y="2027"/>
                </a:lnTo>
                <a:lnTo>
                  <a:pt x="57" y="2027"/>
                </a:lnTo>
                <a:lnTo>
                  <a:pt x="77" y="2110"/>
                </a:lnTo>
                <a:lnTo>
                  <a:pt x="77" y="2110"/>
                </a:lnTo>
                <a:lnTo>
                  <a:pt x="83" y="2136"/>
                </a:lnTo>
                <a:lnTo>
                  <a:pt x="88" y="2164"/>
                </a:lnTo>
                <a:lnTo>
                  <a:pt x="88" y="2164"/>
                </a:lnTo>
                <a:lnTo>
                  <a:pt x="95" y="2136"/>
                </a:lnTo>
                <a:lnTo>
                  <a:pt x="102" y="2108"/>
                </a:lnTo>
                <a:lnTo>
                  <a:pt x="125" y="2027"/>
                </a:lnTo>
                <a:lnTo>
                  <a:pt x="172" y="2027"/>
                </a:lnTo>
                <a:lnTo>
                  <a:pt x="195" y="2108"/>
                </a:lnTo>
                <a:lnTo>
                  <a:pt x="195" y="2108"/>
                </a:lnTo>
                <a:lnTo>
                  <a:pt x="202" y="2135"/>
                </a:lnTo>
                <a:lnTo>
                  <a:pt x="209" y="2165"/>
                </a:lnTo>
                <a:lnTo>
                  <a:pt x="209" y="2165"/>
                </a:lnTo>
                <a:lnTo>
                  <a:pt x="213" y="2139"/>
                </a:lnTo>
                <a:lnTo>
                  <a:pt x="220" y="2108"/>
                </a:lnTo>
                <a:lnTo>
                  <a:pt x="241" y="2027"/>
                </a:lnTo>
                <a:close/>
                <a:moveTo>
                  <a:pt x="406" y="2021"/>
                </a:moveTo>
                <a:lnTo>
                  <a:pt x="406" y="2021"/>
                </a:lnTo>
                <a:lnTo>
                  <a:pt x="396" y="2022"/>
                </a:lnTo>
                <a:lnTo>
                  <a:pt x="385" y="2024"/>
                </a:lnTo>
                <a:lnTo>
                  <a:pt x="375" y="2027"/>
                </a:lnTo>
                <a:lnTo>
                  <a:pt x="366" y="2030"/>
                </a:lnTo>
                <a:lnTo>
                  <a:pt x="358" y="2035"/>
                </a:lnTo>
                <a:lnTo>
                  <a:pt x="349" y="2040"/>
                </a:lnTo>
                <a:lnTo>
                  <a:pt x="341" y="2047"/>
                </a:lnTo>
                <a:lnTo>
                  <a:pt x="334" y="2054"/>
                </a:lnTo>
                <a:lnTo>
                  <a:pt x="328" y="2062"/>
                </a:lnTo>
                <a:lnTo>
                  <a:pt x="322" y="2071"/>
                </a:lnTo>
                <a:lnTo>
                  <a:pt x="317" y="2081"/>
                </a:lnTo>
                <a:lnTo>
                  <a:pt x="313" y="2091"/>
                </a:lnTo>
                <a:lnTo>
                  <a:pt x="310" y="2102"/>
                </a:lnTo>
                <a:lnTo>
                  <a:pt x="308" y="2113"/>
                </a:lnTo>
                <a:lnTo>
                  <a:pt x="306" y="2125"/>
                </a:lnTo>
                <a:lnTo>
                  <a:pt x="306" y="2138"/>
                </a:lnTo>
                <a:lnTo>
                  <a:pt x="306" y="2138"/>
                </a:lnTo>
                <a:lnTo>
                  <a:pt x="306" y="2150"/>
                </a:lnTo>
                <a:lnTo>
                  <a:pt x="308" y="2163"/>
                </a:lnTo>
                <a:lnTo>
                  <a:pt x="310" y="2174"/>
                </a:lnTo>
                <a:lnTo>
                  <a:pt x="313" y="2185"/>
                </a:lnTo>
                <a:lnTo>
                  <a:pt x="317" y="2194"/>
                </a:lnTo>
                <a:lnTo>
                  <a:pt x="322" y="2204"/>
                </a:lnTo>
                <a:lnTo>
                  <a:pt x="328" y="2213"/>
                </a:lnTo>
                <a:lnTo>
                  <a:pt x="334" y="2221"/>
                </a:lnTo>
                <a:lnTo>
                  <a:pt x="341" y="2229"/>
                </a:lnTo>
                <a:lnTo>
                  <a:pt x="349" y="2235"/>
                </a:lnTo>
                <a:lnTo>
                  <a:pt x="358" y="2241"/>
                </a:lnTo>
                <a:lnTo>
                  <a:pt x="366" y="2245"/>
                </a:lnTo>
                <a:lnTo>
                  <a:pt x="375" y="2249"/>
                </a:lnTo>
                <a:lnTo>
                  <a:pt x="385" y="2252"/>
                </a:lnTo>
                <a:lnTo>
                  <a:pt x="396" y="2253"/>
                </a:lnTo>
                <a:lnTo>
                  <a:pt x="406" y="2254"/>
                </a:lnTo>
                <a:lnTo>
                  <a:pt x="406" y="2254"/>
                </a:lnTo>
                <a:lnTo>
                  <a:pt x="417" y="2253"/>
                </a:lnTo>
                <a:lnTo>
                  <a:pt x="428" y="2252"/>
                </a:lnTo>
                <a:lnTo>
                  <a:pt x="438" y="2249"/>
                </a:lnTo>
                <a:lnTo>
                  <a:pt x="447" y="2245"/>
                </a:lnTo>
                <a:lnTo>
                  <a:pt x="456" y="2241"/>
                </a:lnTo>
                <a:lnTo>
                  <a:pt x="465" y="2235"/>
                </a:lnTo>
                <a:lnTo>
                  <a:pt x="472" y="2229"/>
                </a:lnTo>
                <a:lnTo>
                  <a:pt x="479" y="2221"/>
                </a:lnTo>
                <a:lnTo>
                  <a:pt x="486" y="2213"/>
                </a:lnTo>
                <a:lnTo>
                  <a:pt x="491" y="2204"/>
                </a:lnTo>
                <a:lnTo>
                  <a:pt x="496" y="2194"/>
                </a:lnTo>
                <a:lnTo>
                  <a:pt x="500" y="2185"/>
                </a:lnTo>
                <a:lnTo>
                  <a:pt x="503" y="2174"/>
                </a:lnTo>
                <a:lnTo>
                  <a:pt x="505" y="2163"/>
                </a:lnTo>
                <a:lnTo>
                  <a:pt x="508" y="2150"/>
                </a:lnTo>
                <a:lnTo>
                  <a:pt x="508" y="2138"/>
                </a:lnTo>
                <a:lnTo>
                  <a:pt x="508" y="2138"/>
                </a:lnTo>
                <a:lnTo>
                  <a:pt x="508" y="2125"/>
                </a:lnTo>
                <a:lnTo>
                  <a:pt x="505" y="2113"/>
                </a:lnTo>
                <a:lnTo>
                  <a:pt x="503" y="2102"/>
                </a:lnTo>
                <a:lnTo>
                  <a:pt x="500" y="2091"/>
                </a:lnTo>
                <a:lnTo>
                  <a:pt x="496" y="2081"/>
                </a:lnTo>
                <a:lnTo>
                  <a:pt x="491" y="2071"/>
                </a:lnTo>
                <a:lnTo>
                  <a:pt x="486" y="2062"/>
                </a:lnTo>
                <a:lnTo>
                  <a:pt x="479" y="2054"/>
                </a:lnTo>
                <a:lnTo>
                  <a:pt x="472" y="2047"/>
                </a:lnTo>
                <a:lnTo>
                  <a:pt x="465" y="2040"/>
                </a:lnTo>
                <a:lnTo>
                  <a:pt x="456" y="2035"/>
                </a:lnTo>
                <a:lnTo>
                  <a:pt x="447" y="2030"/>
                </a:lnTo>
                <a:lnTo>
                  <a:pt x="438" y="2027"/>
                </a:lnTo>
                <a:lnTo>
                  <a:pt x="428" y="2024"/>
                </a:lnTo>
                <a:lnTo>
                  <a:pt x="417" y="2022"/>
                </a:lnTo>
                <a:lnTo>
                  <a:pt x="406" y="2021"/>
                </a:lnTo>
                <a:lnTo>
                  <a:pt x="406" y="2021"/>
                </a:lnTo>
                <a:close/>
                <a:moveTo>
                  <a:pt x="406" y="2202"/>
                </a:moveTo>
                <a:lnTo>
                  <a:pt x="406" y="2202"/>
                </a:lnTo>
                <a:lnTo>
                  <a:pt x="396" y="2201"/>
                </a:lnTo>
                <a:lnTo>
                  <a:pt x="387" y="2198"/>
                </a:lnTo>
                <a:lnTo>
                  <a:pt x="381" y="2192"/>
                </a:lnTo>
                <a:lnTo>
                  <a:pt x="374" y="2185"/>
                </a:lnTo>
                <a:lnTo>
                  <a:pt x="369" y="2176"/>
                </a:lnTo>
                <a:lnTo>
                  <a:pt x="364" y="2165"/>
                </a:lnTo>
                <a:lnTo>
                  <a:pt x="362" y="2151"/>
                </a:lnTo>
                <a:lnTo>
                  <a:pt x="362" y="2138"/>
                </a:lnTo>
                <a:lnTo>
                  <a:pt x="362" y="2138"/>
                </a:lnTo>
                <a:lnTo>
                  <a:pt x="362" y="2124"/>
                </a:lnTo>
                <a:lnTo>
                  <a:pt x="364" y="2111"/>
                </a:lnTo>
                <a:lnTo>
                  <a:pt x="369" y="2101"/>
                </a:lnTo>
                <a:lnTo>
                  <a:pt x="374" y="2091"/>
                </a:lnTo>
                <a:lnTo>
                  <a:pt x="381" y="2083"/>
                </a:lnTo>
                <a:lnTo>
                  <a:pt x="387" y="2078"/>
                </a:lnTo>
                <a:lnTo>
                  <a:pt x="396" y="2074"/>
                </a:lnTo>
                <a:lnTo>
                  <a:pt x="406" y="2073"/>
                </a:lnTo>
                <a:lnTo>
                  <a:pt x="406" y="2073"/>
                </a:lnTo>
                <a:lnTo>
                  <a:pt x="416" y="2074"/>
                </a:lnTo>
                <a:lnTo>
                  <a:pt x="425" y="2078"/>
                </a:lnTo>
                <a:lnTo>
                  <a:pt x="433" y="2083"/>
                </a:lnTo>
                <a:lnTo>
                  <a:pt x="439" y="2091"/>
                </a:lnTo>
                <a:lnTo>
                  <a:pt x="445" y="2101"/>
                </a:lnTo>
                <a:lnTo>
                  <a:pt x="448" y="2111"/>
                </a:lnTo>
                <a:lnTo>
                  <a:pt x="450" y="2124"/>
                </a:lnTo>
                <a:lnTo>
                  <a:pt x="451" y="2138"/>
                </a:lnTo>
                <a:lnTo>
                  <a:pt x="451" y="2138"/>
                </a:lnTo>
                <a:lnTo>
                  <a:pt x="450" y="2151"/>
                </a:lnTo>
                <a:lnTo>
                  <a:pt x="448" y="2165"/>
                </a:lnTo>
                <a:lnTo>
                  <a:pt x="445" y="2176"/>
                </a:lnTo>
                <a:lnTo>
                  <a:pt x="439" y="2185"/>
                </a:lnTo>
                <a:lnTo>
                  <a:pt x="433" y="2192"/>
                </a:lnTo>
                <a:lnTo>
                  <a:pt x="425" y="2198"/>
                </a:lnTo>
                <a:lnTo>
                  <a:pt x="416" y="2201"/>
                </a:lnTo>
                <a:lnTo>
                  <a:pt x="406" y="2202"/>
                </a:lnTo>
                <a:lnTo>
                  <a:pt x="406" y="2202"/>
                </a:lnTo>
                <a:close/>
                <a:moveTo>
                  <a:pt x="2269" y="2089"/>
                </a:moveTo>
                <a:lnTo>
                  <a:pt x="2269" y="2089"/>
                </a:lnTo>
                <a:lnTo>
                  <a:pt x="2260" y="2084"/>
                </a:lnTo>
                <a:lnTo>
                  <a:pt x="2251" y="2080"/>
                </a:lnTo>
                <a:lnTo>
                  <a:pt x="2242" y="2078"/>
                </a:lnTo>
                <a:lnTo>
                  <a:pt x="2233" y="2076"/>
                </a:lnTo>
                <a:lnTo>
                  <a:pt x="2233" y="2076"/>
                </a:lnTo>
                <a:lnTo>
                  <a:pt x="2223" y="2078"/>
                </a:lnTo>
                <a:lnTo>
                  <a:pt x="2215" y="2080"/>
                </a:lnTo>
                <a:lnTo>
                  <a:pt x="2208" y="2084"/>
                </a:lnTo>
                <a:lnTo>
                  <a:pt x="2203" y="2090"/>
                </a:lnTo>
                <a:lnTo>
                  <a:pt x="2198" y="2096"/>
                </a:lnTo>
                <a:lnTo>
                  <a:pt x="2195" y="2105"/>
                </a:lnTo>
                <a:lnTo>
                  <a:pt x="2193" y="2116"/>
                </a:lnTo>
                <a:lnTo>
                  <a:pt x="2193" y="2128"/>
                </a:lnTo>
                <a:lnTo>
                  <a:pt x="2193" y="2249"/>
                </a:lnTo>
                <a:lnTo>
                  <a:pt x="2138" y="2249"/>
                </a:lnTo>
                <a:lnTo>
                  <a:pt x="2138" y="2027"/>
                </a:lnTo>
                <a:lnTo>
                  <a:pt x="2193" y="2027"/>
                </a:lnTo>
                <a:lnTo>
                  <a:pt x="2193" y="2046"/>
                </a:lnTo>
                <a:lnTo>
                  <a:pt x="2193" y="2046"/>
                </a:lnTo>
                <a:lnTo>
                  <a:pt x="2197" y="2040"/>
                </a:lnTo>
                <a:lnTo>
                  <a:pt x="2203" y="2035"/>
                </a:lnTo>
                <a:lnTo>
                  <a:pt x="2208" y="2031"/>
                </a:lnTo>
                <a:lnTo>
                  <a:pt x="2215" y="2028"/>
                </a:lnTo>
                <a:lnTo>
                  <a:pt x="2222" y="2025"/>
                </a:lnTo>
                <a:lnTo>
                  <a:pt x="2228" y="2024"/>
                </a:lnTo>
                <a:lnTo>
                  <a:pt x="2235" y="2022"/>
                </a:lnTo>
                <a:lnTo>
                  <a:pt x="2242" y="2021"/>
                </a:lnTo>
                <a:lnTo>
                  <a:pt x="2242" y="2021"/>
                </a:lnTo>
                <a:lnTo>
                  <a:pt x="2253" y="2022"/>
                </a:lnTo>
                <a:lnTo>
                  <a:pt x="2264" y="2026"/>
                </a:lnTo>
                <a:lnTo>
                  <a:pt x="2275" y="2030"/>
                </a:lnTo>
                <a:lnTo>
                  <a:pt x="2283" y="2036"/>
                </a:lnTo>
                <a:lnTo>
                  <a:pt x="2269" y="2089"/>
                </a:lnTo>
                <a:close/>
                <a:moveTo>
                  <a:pt x="1836" y="2027"/>
                </a:moveTo>
                <a:lnTo>
                  <a:pt x="1891" y="2027"/>
                </a:lnTo>
                <a:lnTo>
                  <a:pt x="1828" y="2249"/>
                </a:lnTo>
                <a:lnTo>
                  <a:pt x="1780" y="2249"/>
                </a:lnTo>
                <a:lnTo>
                  <a:pt x="1756" y="2157"/>
                </a:lnTo>
                <a:lnTo>
                  <a:pt x="1756" y="2157"/>
                </a:lnTo>
                <a:lnTo>
                  <a:pt x="1744" y="2108"/>
                </a:lnTo>
                <a:lnTo>
                  <a:pt x="1744" y="2108"/>
                </a:lnTo>
                <a:lnTo>
                  <a:pt x="1738" y="2132"/>
                </a:lnTo>
                <a:lnTo>
                  <a:pt x="1732" y="2158"/>
                </a:lnTo>
                <a:lnTo>
                  <a:pt x="1707" y="2249"/>
                </a:lnTo>
                <a:lnTo>
                  <a:pt x="1660" y="2249"/>
                </a:lnTo>
                <a:lnTo>
                  <a:pt x="1659" y="2247"/>
                </a:lnTo>
                <a:lnTo>
                  <a:pt x="1597" y="2027"/>
                </a:lnTo>
                <a:lnTo>
                  <a:pt x="1653" y="2027"/>
                </a:lnTo>
                <a:lnTo>
                  <a:pt x="1674" y="2110"/>
                </a:lnTo>
                <a:lnTo>
                  <a:pt x="1674" y="2110"/>
                </a:lnTo>
                <a:lnTo>
                  <a:pt x="1680" y="2136"/>
                </a:lnTo>
                <a:lnTo>
                  <a:pt x="1685" y="2164"/>
                </a:lnTo>
                <a:lnTo>
                  <a:pt x="1685" y="2164"/>
                </a:lnTo>
                <a:lnTo>
                  <a:pt x="1691" y="2136"/>
                </a:lnTo>
                <a:lnTo>
                  <a:pt x="1699" y="2108"/>
                </a:lnTo>
                <a:lnTo>
                  <a:pt x="1722" y="2027"/>
                </a:lnTo>
                <a:lnTo>
                  <a:pt x="1768" y="2027"/>
                </a:lnTo>
                <a:lnTo>
                  <a:pt x="1791" y="2108"/>
                </a:lnTo>
                <a:lnTo>
                  <a:pt x="1791" y="2108"/>
                </a:lnTo>
                <a:lnTo>
                  <a:pt x="1798" y="2135"/>
                </a:lnTo>
                <a:lnTo>
                  <a:pt x="1804" y="2165"/>
                </a:lnTo>
                <a:lnTo>
                  <a:pt x="1804" y="2165"/>
                </a:lnTo>
                <a:lnTo>
                  <a:pt x="1810" y="2139"/>
                </a:lnTo>
                <a:lnTo>
                  <a:pt x="1817" y="2108"/>
                </a:lnTo>
                <a:lnTo>
                  <a:pt x="1836" y="2027"/>
                </a:lnTo>
                <a:close/>
                <a:moveTo>
                  <a:pt x="2002" y="2021"/>
                </a:moveTo>
                <a:lnTo>
                  <a:pt x="2002" y="2021"/>
                </a:lnTo>
                <a:lnTo>
                  <a:pt x="1992" y="2022"/>
                </a:lnTo>
                <a:lnTo>
                  <a:pt x="1981" y="2024"/>
                </a:lnTo>
                <a:lnTo>
                  <a:pt x="1971" y="2027"/>
                </a:lnTo>
                <a:lnTo>
                  <a:pt x="1962" y="2030"/>
                </a:lnTo>
                <a:lnTo>
                  <a:pt x="1953" y="2035"/>
                </a:lnTo>
                <a:lnTo>
                  <a:pt x="1945" y="2041"/>
                </a:lnTo>
                <a:lnTo>
                  <a:pt x="1937" y="2047"/>
                </a:lnTo>
                <a:lnTo>
                  <a:pt x="1930" y="2054"/>
                </a:lnTo>
                <a:lnTo>
                  <a:pt x="1924" y="2062"/>
                </a:lnTo>
                <a:lnTo>
                  <a:pt x="1918" y="2071"/>
                </a:lnTo>
                <a:lnTo>
                  <a:pt x="1913" y="2081"/>
                </a:lnTo>
                <a:lnTo>
                  <a:pt x="1909" y="2091"/>
                </a:lnTo>
                <a:lnTo>
                  <a:pt x="1906" y="2102"/>
                </a:lnTo>
                <a:lnTo>
                  <a:pt x="1903" y="2114"/>
                </a:lnTo>
                <a:lnTo>
                  <a:pt x="1902" y="2125"/>
                </a:lnTo>
                <a:lnTo>
                  <a:pt x="1902" y="2138"/>
                </a:lnTo>
                <a:lnTo>
                  <a:pt x="1902" y="2138"/>
                </a:lnTo>
                <a:lnTo>
                  <a:pt x="1902" y="2150"/>
                </a:lnTo>
                <a:lnTo>
                  <a:pt x="1903" y="2163"/>
                </a:lnTo>
                <a:lnTo>
                  <a:pt x="1906" y="2174"/>
                </a:lnTo>
                <a:lnTo>
                  <a:pt x="1909" y="2185"/>
                </a:lnTo>
                <a:lnTo>
                  <a:pt x="1913" y="2194"/>
                </a:lnTo>
                <a:lnTo>
                  <a:pt x="1918" y="2204"/>
                </a:lnTo>
                <a:lnTo>
                  <a:pt x="1924" y="2213"/>
                </a:lnTo>
                <a:lnTo>
                  <a:pt x="1930" y="2221"/>
                </a:lnTo>
                <a:lnTo>
                  <a:pt x="1937" y="2229"/>
                </a:lnTo>
                <a:lnTo>
                  <a:pt x="1945" y="2235"/>
                </a:lnTo>
                <a:lnTo>
                  <a:pt x="1953" y="2241"/>
                </a:lnTo>
                <a:lnTo>
                  <a:pt x="1962" y="2245"/>
                </a:lnTo>
                <a:lnTo>
                  <a:pt x="1971" y="2249"/>
                </a:lnTo>
                <a:lnTo>
                  <a:pt x="1981" y="2252"/>
                </a:lnTo>
                <a:lnTo>
                  <a:pt x="1992" y="2253"/>
                </a:lnTo>
                <a:lnTo>
                  <a:pt x="2002" y="2254"/>
                </a:lnTo>
                <a:lnTo>
                  <a:pt x="2002" y="2254"/>
                </a:lnTo>
                <a:lnTo>
                  <a:pt x="2013" y="2253"/>
                </a:lnTo>
                <a:lnTo>
                  <a:pt x="2024" y="2252"/>
                </a:lnTo>
                <a:lnTo>
                  <a:pt x="2034" y="2249"/>
                </a:lnTo>
                <a:lnTo>
                  <a:pt x="2043" y="2245"/>
                </a:lnTo>
                <a:lnTo>
                  <a:pt x="2052" y="2241"/>
                </a:lnTo>
                <a:lnTo>
                  <a:pt x="2061" y="2235"/>
                </a:lnTo>
                <a:lnTo>
                  <a:pt x="2068" y="2229"/>
                </a:lnTo>
                <a:lnTo>
                  <a:pt x="2075" y="2221"/>
                </a:lnTo>
                <a:lnTo>
                  <a:pt x="2081" y="2213"/>
                </a:lnTo>
                <a:lnTo>
                  <a:pt x="2087" y="2204"/>
                </a:lnTo>
                <a:lnTo>
                  <a:pt x="2091" y="2194"/>
                </a:lnTo>
                <a:lnTo>
                  <a:pt x="2096" y="2185"/>
                </a:lnTo>
                <a:lnTo>
                  <a:pt x="2099" y="2174"/>
                </a:lnTo>
                <a:lnTo>
                  <a:pt x="2101" y="2163"/>
                </a:lnTo>
                <a:lnTo>
                  <a:pt x="2104" y="2150"/>
                </a:lnTo>
                <a:lnTo>
                  <a:pt x="2104" y="2138"/>
                </a:lnTo>
                <a:lnTo>
                  <a:pt x="2104" y="2138"/>
                </a:lnTo>
                <a:lnTo>
                  <a:pt x="2104" y="2125"/>
                </a:lnTo>
                <a:lnTo>
                  <a:pt x="2101" y="2114"/>
                </a:lnTo>
                <a:lnTo>
                  <a:pt x="2099" y="2102"/>
                </a:lnTo>
                <a:lnTo>
                  <a:pt x="2096" y="2091"/>
                </a:lnTo>
                <a:lnTo>
                  <a:pt x="2091" y="2081"/>
                </a:lnTo>
                <a:lnTo>
                  <a:pt x="2087" y="2071"/>
                </a:lnTo>
                <a:lnTo>
                  <a:pt x="2081" y="2062"/>
                </a:lnTo>
                <a:lnTo>
                  <a:pt x="2075" y="2054"/>
                </a:lnTo>
                <a:lnTo>
                  <a:pt x="2068" y="2047"/>
                </a:lnTo>
                <a:lnTo>
                  <a:pt x="2061" y="2041"/>
                </a:lnTo>
                <a:lnTo>
                  <a:pt x="2052" y="2035"/>
                </a:lnTo>
                <a:lnTo>
                  <a:pt x="2043" y="2030"/>
                </a:lnTo>
                <a:lnTo>
                  <a:pt x="2034" y="2027"/>
                </a:lnTo>
                <a:lnTo>
                  <a:pt x="2024" y="2024"/>
                </a:lnTo>
                <a:lnTo>
                  <a:pt x="2013" y="2022"/>
                </a:lnTo>
                <a:lnTo>
                  <a:pt x="2002" y="2021"/>
                </a:lnTo>
                <a:lnTo>
                  <a:pt x="2002" y="2021"/>
                </a:lnTo>
                <a:close/>
                <a:moveTo>
                  <a:pt x="2002" y="2202"/>
                </a:moveTo>
                <a:lnTo>
                  <a:pt x="2002" y="2202"/>
                </a:lnTo>
                <a:lnTo>
                  <a:pt x="1992" y="2201"/>
                </a:lnTo>
                <a:lnTo>
                  <a:pt x="1984" y="2198"/>
                </a:lnTo>
                <a:lnTo>
                  <a:pt x="1977" y="2192"/>
                </a:lnTo>
                <a:lnTo>
                  <a:pt x="1970" y="2185"/>
                </a:lnTo>
                <a:lnTo>
                  <a:pt x="1964" y="2176"/>
                </a:lnTo>
                <a:lnTo>
                  <a:pt x="1960" y="2165"/>
                </a:lnTo>
                <a:lnTo>
                  <a:pt x="1958" y="2151"/>
                </a:lnTo>
                <a:lnTo>
                  <a:pt x="1958" y="2138"/>
                </a:lnTo>
                <a:lnTo>
                  <a:pt x="1958" y="2138"/>
                </a:lnTo>
                <a:lnTo>
                  <a:pt x="1958" y="2124"/>
                </a:lnTo>
                <a:lnTo>
                  <a:pt x="1960" y="2112"/>
                </a:lnTo>
                <a:lnTo>
                  <a:pt x="1964" y="2101"/>
                </a:lnTo>
                <a:lnTo>
                  <a:pt x="1970" y="2091"/>
                </a:lnTo>
                <a:lnTo>
                  <a:pt x="1977" y="2083"/>
                </a:lnTo>
                <a:lnTo>
                  <a:pt x="1984" y="2078"/>
                </a:lnTo>
                <a:lnTo>
                  <a:pt x="1992" y="2074"/>
                </a:lnTo>
                <a:lnTo>
                  <a:pt x="2002" y="2073"/>
                </a:lnTo>
                <a:lnTo>
                  <a:pt x="2002" y="2073"/>
                </a:lnTo>
                <a:lnTo>
                  <a:pt x="2012" y="2074"/>
                </a:lnTo>
                <a:lnTo>
                  <a:pt x="2021" y="2078"/>
                </a:lnTo>
                <a:lnTo>
                  <a:pt x="2029" y="2083"/>
                </a:lnTo>
                <a:lnTo>
                  <a:pt x="2035" y="2091"/>
                </a:lnTo>
                <a:lnTo>
                  <a:pt x="2041" y="2101"/>
                </a:lnTo>
                <a:lnTo>
                  <a:pt x="2044" y="2112"/>
                </a:lnTo>
                <a:lnTo>
                  <a:pt x="2046" y="2124"/>
                </a:lnTo>
                <a:lnTo>
                  <a:pt x="2047" y="2138"/>
                </a:lnTo>
                <a:lnTo>
                  <a:pt x="2047" y="2138"/>
                </a:lnTo>
                <a:lnTo>
                  <a:pt x="2046" y="2151"/>
                </a:lnTo>
                <a:lnTo>
                  <a:pt x="2044" y="2165"/>
                </a:lnTo>
                <a:lnTo>
                  <a:pt x="2041" y="2176"/>
                </a:lnTo>
                <a:lnTo>
                  <a:pt x="2035" y="2185"/>
                </a:lnTo>
                <a:lnTo>
                  <a:pt x="2029" y="2192"/>
                </a:lnTo>
                <a:lnTo>
                  <a:pt x="2021" y="2198"/>
                </a:lnTo>
                <a:lnTo>
                  <a:pt x="2012" y="2201"/>
                </a:lnTo>
                <a:lnTo>
                  <a:pt x="2002" y="2202"/>
                </a:lnTo>
                <a:lnTo>
                  <a:pt x="2002" y="2202"/>
                </a:lnTo>
                <a:close/>
                <a:moveTo>
                  <a:pt x="837" y="2100"/>
                </a:moveTo>
                <a:lnTo>
                  <a:pt x="904" y="2249"/>
                </a:lnTo>
                <a:lnTo>
                  <a:pt x="843" y="2249"/>
                </a:lnTo>
                <a:lnTo>
                  <a:pt x="797" y="2146"/>
                </a:lnTo>
                <a:lnTo>
                  <a:pt x="767" y="2182"/>
                </a:lnTo>
                <a:lnTo>
                  <a:pt x="767" y="2249"/>
                </a:lnTo>
                <a:lnTo>
                  <a:pt x="713" y="2249"/>
                </a:lnTo>
                <a:lnTo>
                  <a:pt x="713" y="1962"/>
                </a:lnTo>
                <a:lnTo>
                  <a:pt x="767" y="1934"/>
                </a:lnTo>
                <a:lnTo>
                  <a:pt x="767" y="2112"/>
                </a:lnTo>
                <a:lnTo>
                  <a:pt x="767" y="2112"/>
                </a:lnTo>
                <a:lnTo>
                  <a:pt x="788" y="2083"/>
                </a:lnTo>
                <a:lnTo>
                  <a:pt x="832" y="2027"/>
                </a:lnTo>
                <a:lnTo>
                  <a:pt x="896" y="2027"/>
                </a:lnTo>
                <a:lnTo>
                  <a:pt x="837" y="2100"/>
                </a:lnTo>
                <a:close/>
                <a:moveTo>
                  <a:pt x="1097" y="2249"/>
                </a:moveTo>
                <a:lnTo>
                  <a:pt x="1042" y="2249"/>
                </a:lnTo>
                <a:lnTo>
                  <a:pt x="1042" y="2027"/>
                </a:lnTo>
                <a:lnTo>
                  <a:pt x="1097" y="2027"/>
                </a:lnTo>
                <a:lnTo>
                  <a:pt x="1097" y="2046"/>
                </a:lnTo>
                <a:lnTo>
                  <a:pt x="1097" y="2046"/>
                </a:lnTo>
                <a:lnTo>
                  <a:pt x="1103" y="2040"/>
                </a:lnTo>
                <a:lnTo>
                  <a:pt x="1108" y="2036"/>
                </a:lnTo>
                <a:lnTo>
                  <a:pt x="1115" y="2031"/>
                </a:lnTo>
                <a:lnTo>
                  <a:pt x="1121" y="2028"/>
                </a:lnTo>
                <a:lnTo>
                  <a:pt x="1129" y="2026"/>
                </a:lnTo>
                <a:lnTo>
                  <a:pt x="1137" y="2024"/>
                </a:lnTo>
                <a:lnTo>
                  <a:pt x="1144" y="2022"/>
                </a:lnTo>
                <a:lnTo>
                  <a:pt x="1153" y="2021"/>
                </a:lnTo>
                <a:lnTo>
                  <a:pt x="1153" y="2021"/>
                </a:lnTo>
                <a:lnTo>
                  <a:pt x="1163" y="2022"/>
                </a:lnTo>
                <a:lnTo>
                  <a:pt x="1172" y="2024"/>
                </a:lnTo>
                <a:lnTo>
                  <a:pt x="1180" y="2026"/>
                </a:lnTo>
                <a:lnTo>
                  <a:pt x="1189" y="2028"/>
                </a:lnTo>
                <a:lnTo>
                  <a:pt x="1195" y="2032"/>
                </a:lnTo>
                <a:lnTo>
                  <a:pt x="1202" y="2037"/>
                </a:lnTo>
                <a:lnTo>
                  <a:pt x="1208" y="2041"/>
                </a:lnTo>
                <a:lnTo>
                  <a:pt x="1214" y="2048"/>
                </a:lnTo>
                <a:lnTo>
                  <a:pt x="1218" y="2054"/>
                </a:lnTo>
                <a:lnTo>
                  <a:pt x="1223" y="2062"/>
                </a:lnTo>
                <a:lnTo>
                  <a:pt x="1226" y="2070"/>
                </a:lnTo>
                <a:lnTo>
                  <a:pt x="1229" y="2080"/>
                </a:lnTo>
                <a:lnTo>
                  <a:pt x="1232" y="2090"/>
                </a:lnTo>
                <a:lnTo>
                  <a:pt x="1233" y="2100"/>
                </a:lnTo>
                <a:lnTo>
                  <a:pt x="1234" y="2111"/>
                </a:lnTo>
                <a:lnTo>
                  <a:pt x="1235" y="2123"/>
                </a:lnTo>
                <a:lnTo>
                  <a:pt x="1235" y="2249"/>
                </a:lnTo>
                <a:lnTo>
                  <a:pt x="1180" y="2249"/>
                </a:lnTo>
                <a:lnTo>
                  <a:pt x="1180" y="2126"/>
                </a:lnTo>
                <a:lnTo>
                  <a:pt x="1180" y="2126"/>
                </a:lnTo>
                <a:lnTo>
                  <a:pt x="1179" y="2114"/>
                </a:lnTo>
                <a:lnTo>
                  <a:pt x="1178" y="2102"/>
                </a:lnTo>
                <a:lnTo>
                  <a:pt x="1174" y="2093"/>
                </a:lnTo>
                <a:lnTo>
                  <a:pt x="1170" y="2085"/>
                </a:lnTo>
                <a:lnTo>
                  <a:pt x="1164" y="2080"/>
                </a:lnTo>
                <a:lnTo>
                  <a:pt x="1158" y="2075"/>
                </a:lnTo>
                <a:lnTo>
                  <a:pt x="1149" y="2073"/>
                </a:lnTo>
                <a:lnTo>
                  <a:pt x="1139" y="2072"/>
                </a:lnTo>
                <a:lnTo>
                  <a:pt x="1139" y="2072"/>
                </a:lnTo>
                <a:lnTo>
                  <a:pt x="1130" y="2073"/>
                </a:lnTo>
                <a:lnTo>
                  <a:pt x="1121" y="2075"/>
                </a:lnTo>
                <a:lnTo>
                  <a:pt x="1114" y="2080"/>
                </a:lnTo>
                <a:lnTo>
                  <a:pt x="1108" y="2086"/>
                </a:lnTo>
                <a:lnTo>
                  <a:pt x="1104" y="2093"/>
                </a:lnTo>
                <a:lnTo>
                  <a:pt x="1100" y="2103"/>
                </a:lnTo>
                <a:lnTo>
                  <a:pt x="1098" y="2114"/>
                </a:lnTo>
                <a:lnTo>
                  <a:pt x="1097" y="2126"/>
                </a:lnTo>
                <a:lnTo>
                  <a:pt x="1097" y="2249"/>
                </a:lnTo>
                <a:close/>
                <a:moveTo>
                  <a:pt x="1408" y="2042"/>
                </a:moveTo>
                <a:lnTo>
                  <a:pt x="1408" y="2042"/>
                </a:lnTo>
                <a:lnTo>
                  <a:pt x="1403" y="2038"/>
                </a:lnTo>
                <a:lnTo>
                  <a:pt x="1397" y="2033"/>
                </a:lnTo>
                <a:lnTo>
                  <a:pt x="1392" y="2030"/>
                </a:lnTo>
                <a:lnTo>
                  <a:pt x="1385" y="2027"/>
                </a:lnTo>
                <a:lnTo>
                  <a:pt x="1378" y="2025"/>
                </a:lnTo>
                <a:lnTo>
                  <a:pt x="1372" y="2024"/>
                </a:lnTo>
                <a:lnTo>
                  <a:pt x="1365" y="2022"/>
                </a:lnTo>
                <a:lnTo>
                  <a:pt x="1359" y="2021"/>
                </a:lnTo>
                <a:lnTo>
                  <a:pt x="1359" y="2021"/>
                </a:lnTo>
                <a:lnTo>
                  <a:pt x="1349" y="2022"/>
                </a:lnTo>
                <a:lnTo>
                  <a:pt x="1340" y="2024"/>
                </a:lnTo>
                <a:lnTo>
                  <a:pt x="1331" y="2026"/>
                </a:lnTo>
                <a:lnTo>
                  <a:pt x="1322" y="2030"/>
                </a:lnTo>
                <a:lnTo>
                  <a:pt x="1314" y="2033"/>
                </a:lnTo>
                <a:lnTo>
                  <a:pt x="1308" y="2039"/>
                </a:lnTo>
                <a:lnTo>
                  <a:pt x="1301" y="2046"/>
                </a:lnTo>
                <a:lnTo>
                  <a:pt x="1295" y="2052"/>
                </a:lnTo>
                <a:lnTo>
                  <a:pt x="1289" y="2060"/>
                </a:lnTo>
                <a:lnTo>
                  <a:pt x="1285" y="2069"/>
                </a:lnTo>
                <a:lnTo>
                  <a:pt x="1280" y="2078"/>
                </a:lnTo>
                <a:lnTo>
                  <a:pt x="1277" y="2089"/>
                </a:lnTo>
                <a:lnTo>
                  <a:pt x="1275" y="2099"/>
                </a:lnTo>
                <a:lnTo>
                  <a:pt x="1273" y="2111"/>
                </a:lnTo>
                <a:lnTo>
                  <a:pt x="1271" y="2123"/>
                </a:lnTo>
                <a:lnTo>
                  <a:pt x="1271" y="2135"/>
                </a:lnTo>
                <a:lnTo>
                  <a:pt x="1271" y="2135"/>
                </a:lnTo>
                <a:lnTo>
                  <a:pt x="1271" y="2149"/>
                </a:lnTo>
                <a:lnTo>
                  <a:pt x="1273" y="2161"/>
                </a:lnTo>
                <a:lnTo>
                  <a:pt x="1275" y="2174"/>
                </a:lnTo>
                <a:lnTo>
                  <a:pt x="1277" y="2186"/>
                </a:lnTo>
                <a:lnTo>
                  <a:pt x="1280" y="2196"/>
                </a:lnTo>
                <a:lnTo>
                  <a:pt x="1285" y="2206"/>
                </a:lnTo>
                <a:lnTo>
                  <a:pt x="1289" y="2214"/>
                </a:lnTo>
                <a:lnTo>
                  <a:pt x="1295" y="2222"/>
                </a:lnTo>
                <a:lnTo>
                  <a:pt x="1300" y="2230"/>
                </a:lnTo>
                <a:lnTo>
                  <a:pt x="1307" y="2235"/>
                </a:lnTo>
                <a:lnTo>
                  <a:pt x="1313" y="2241"/>
                </a:lnTo>
                <a:lnTo>
                  <a:pt x="1321" y="2245"/>
                </a:lnTo>
                <a:lnTo>
                  <a:pt x="1330" y="2249"/>
                </a:lnTo>
                <a:lnTo>
                  <a:pt x="1339" y="2252"/>
                </a:lnTo>
                <a:lnTo>
                  <a:pt x="1348" y="2253"/>
                </a:lnTo>
                <a:lnTo>
                  <a:pt x="1357" y="2254"/>
                </a:lnTo>
                <a:lnTo>
                  <a:pt x="1357" y="2254"/>
                </a:lnTo>
                <a:lnTo>
                  <a:pt x="1364" y="2253"/>
                </a:lnTo>
                <a:lnTo>
                  <a:pt x="1372" y="2252"/>
                </a:lnTo>
                <a:lnTo>
                  <a:pt x="1378" y="2251"/>
                </a:lnTo>
                <a:lnTo>
                  <a:pt x="1385" y="2249"/>
                </a:lnTo>
                <a:lnTo>
                  <a:pt x="1391" y="2245"/>
                </a:lnTo>
                <a:lnTo>
                  <a:pt x="1397" y="2242"/>
                </a:lnTo>
                <a:lnTo>
                  <a:pt x="1403" y="2238"/>
                </a:lnTo>
                <a:lnTo>
                  <a:pt x="1408" y="2232"/>
                </a:lnTo>
                <a:lnTo>
                  <a:pt x="1408" y="2238"/>
                </a:lnTo>
                <a:lnTo>
                  <a:pt x="1408" y="2238"/>
                </a:lnTo>
                <a:lnTo>
                  <a:pt x="1408" y="2246"/>
                </a:lnTo>
                <a:lnTo>
                  <a:pt x="1407" y="2256"/>
                </a:lnTo>
                <a:lnTo>
                  <a:pt x="1404" y="2266"/>
                </a:lnTo>
                <a:lnTo>
                  <a:pt x="1402" y="2271"/>
                </a:lnTo>
                <a:lnTo>
                  <a:pt x="1399" y="2275"/>
                </a:lnTo>
                <a:lnTo>
                  <a:pt x="1395" y="2279"/>
                </a:lnTo>
                <a:lnTo>
                  <a:pt x="1391" y="2284"/>
                </a:lnTo>
                <a:lnTo>
                  <a:pt x="1385" y="2287"/>
                </a:lnTo>
                <a:lnTo>
                  <a:pt x="1378" y="2290"/>
                </a:lnTo>
                <a:lnTo>
                  <a:pt x="1370" y="2293"/>
                </a:lnTo>
                <a:lnTo>
                  <a:pt x="1361" y="2295"/>
                </a:lnTo>
                <a:lnTo>
                  <a:pt x="1350" y="2296"/>
                </a:lnTo>
                <a:lnTo>
                  <a:pt x="1337" y="2296"/>
                </a:lnTo>
                <a:lnTo>
                  <a:pt x="1334" y="2296"/>
                </a:lnTo>
                <a:lnTo>
                  <a:pt x="1354" y="2339"/>
                </a:lnTo>
                <a:lnTo>
                  <a:pt x="1355" y="2339"/>
                </a:lnTo>
                <a:lnTo>
                  <a:pt x="1355" y="2339"/>
                </a:lnTo>
                <a:lnTo>
                  <a:pt x="1369" y="2339"/>
                </a:lnTo>
                <a:lnTo>
                  <a:pt x="1381" y="2338"/>
                </a:lnTo>
                <a:lnTo>
                  <a:pt x="1392" y="2335"/>
                </a:lnTo>
                <a:lnTo>
                  <a:pt x="1403" y="2332"/>
                </a:lnTo>
                <a:lnTo>
                  <a:pt x="1413" y="2328"/>
                </a:lnTo>
                <a:lnTo>
                  <a:pt x="1421" y="2324"/>
                </a:lnTo>
                <a:lnTo>
                  <a:pt x="1429" y="2318"/>
                </a:lnTo>
                <a:lnTo>
                  <a:pt x="1436" y="2311"/>
                </a:lnTo>
                <a:lnTo>
                  <a:pt x="1442" y="2304"/>
                </a:lnTo>
                <a:lnTo>
                  <a:pt x="1448" y="2296"/>
                </a:lnTo>
                <a:lnTo>
                  <a:pt x="1452" y="2286"/>
                </a:lnTo>
                <a:lnTo>
                  <a:pt x="1456" y="2276"/>
                </a:lnTo>
                <a:lnTo>
                  <a:pt x="1459" y="2266"/>
                </a:lnTo>
                <a:lnTo>
                  <a:pt x="1461" y="2254"/>
                </a:lnTo>
                <a:lnTo>
                  <a:pt x="1462" y="2242"/>
                </a:lnTo>
                <a:lnTo>
                  <a:pt x="1462" y="2229"/>
                </a:lnTo>
                <a:lnTo>
                  <a:pt x="1462" y="2027"/>
                </a:lnTo>
                <a:lnTo>
                  <a:pt x="1408" y="2027"/>
                </a:lnTo>
                <a:lnTo>
                  <a:pt x="1408" y="2042"/>
                </a:lnTo>
                <a:close/>
                <a:moveTo>
                  <a:pt x="1408" y="2094"/>
                </a:moveTo>
                <a:lnTo>
                  <a:pt x="1408" y="2181"/>
                </a:lnTo>
                <a:lnTo>
                  <a:pt x="1408" y="2181"/>
                </a:lnTo>
                <a:lnTo>
                  <a:pt x="1401" y="2189"/>
                </a:lnTo>
                <a:lnTo>
                  <a:pt x="1393" y="2197"/>
                </a:lnTo>
                <a:lnTo>
                  <a:pt x="1387" y="2199"/>
                </a:lnTo>
                <a:lnTo>
                  <a:pt x="1382" y="2201"/>
                </a:lnTo>
                <a:lnTo>
                  <a:pt x="1376" y="2202"/>
                </a:lnTo>
                <a:lnTo>
                  <a:pt x="1369" y="2203"/>
                </a:lnTo>
                <a:lnTo>
                  <a:pt x="1369" y="2203"/>
                </a:lnTo>
                <a:lnTo>
                  <a:pt x="1362" y="2202"/>
                </a:lnTo>
                <a:lnTo>
                  <a:pt x="1354" y="2200"/>
                </a:lnTo>
                <a:lnTo>
                  <a:pt x="1348" y="2197"/>
                </a:lnTo>
                <a:lnTo>
                  <a:pt x="1341" y="2190"/>
                </a:lnTo>
                <a:lnTo>
                  <a:pt x="1335" y="2181"/>
                </a:lnTo>
                <a:lnTo>
                  <a:pt x="1331" y="2169"/>
                </a:lnTo>
                <a:lnTo>
                  <a:pt x="1329" y="2154"/>
                </a:lnTo>
                <a:lnTo>
                  <a:pt x="1328" y="2134"/>
                </a:lnTo>
                <a:lnTo>
                  <a:pt x="1328" y="2134"/>
                </a:lnTo>
                <a:lnTo>
                  <a:pt x="1329" y="2117"/>
                </a:lnTo>
                <a:lnTo>
                  <a:pt x="1331" y="2103"/>
                </a:lnTo>
                <a:lnTo>
                  <a:pt x="1335" y="2092"/>
                </a:lnTo>
                <a:lnTo>
                  <a:pt x="1341" y="2084"/>
                </a:lnTo>
                <a:lnTo>
                  <a:pt x="1348" y="2079"/>
                </a:lnTo>
                <a:lnTo>
                  <a:pt x="1354" y="2074"/>
                </a:lnTo>
                <a:lnTo>
                  <a:pt x="1362" y="2073"/>
                </a:lnTo>
                <a:lnTo>
                  <a:pt x="1369" y="2072"/>
                </a:lnTo>
                <a:lnTo>
                  <a:pt x="1369" y="2072"/>
                </a:lnTo>
                <a:lnTo>
                  <a:pt x="1376" y="2073"/>
                </a:lnTo>
                <a:lnTo>
                  <a:pt x="1383" y="2074"/>
                </a:lnTo>
                <a:lnTo>
                  <a:pt x="1388" y="2076"/>
                </a:lnTo>
                <a:lnTo>
                  <a:pt x="1394" y="2080"/>
                </a:lnTo>
                <a:lnTo>
                  <a:pt x="1398" y="2083"/>
                </a:lnTo>
                <a:lnTo>
                  <a:pt x="1402" y="2086"/>
                </a:lnTo>
                <a:lnTo>
                  <a:pt x="1408" y="2094"/>
                </a:lnTo>
                <a:lnTo>
                  <a:pt x="1408" y="2094"/>
                </a:lnTo>
                <a:close/>
                <a:moveTo>
                  <a:pt x="938" y="2027"/>
                </a:moveTo>
                <a:lnTo>
                  <a:pt x="993" y="2027"/>
                </a:lnTo>
                <a:lnTo>
                  <a:pt x="993" y="2123"/>
                </a:lnTo>
                <a:lnTo>
                  <a:pt x="993" y="2249"/>
                </a:lnTo>
                <a:lnTo>
                  <a:pt x="938" y="2249"/>
                </a:lnTo>
                <a:lnTo>
                  <a:pt x="938" y="2027"/>
                </a:lnTo>
                <a:close/>
                <a:moveTo>
                  <a:pt x="993" y="1967"/>
                </a:moveTo>
                <a:lnTo>
                  <a:pt x="993" y="1995"/>
                </a:lnTo>
                <a:lnTo>
                  <a:pt x="938" y="1995"/>
                </a:lnTo>
                <a:lnTo>
                  <a:pt x="938" y="1940"/>
                </a:lnTo>
                <a:lnTo>
                  <a:pt x="993" y="1940"/>
                </a:lnTo>
                <a:lnTo>
                  <a:pt x="993" y="1967"/>
                </a:lnTo>
                <a:close/>
                <a:moveTo>
                  <a:pt x="2309" y="1962"/>
                </a:moveTo>
                <a:lnTo>
                  <a:pt x="2364" y="1934"/>
                </a:lnTo>
                <a:lnTo>
                  <a:pt x="2364" y="2127"/>
                </a:lnTo>
                <a:lnTo>
                  <a:pt x="2364" y="2249"/>
                </a:lnTo>
                <a:lnTo>
                  <a:pt x="2309" y="2249"/>
                </a:lnTo>
                <a:lnTo>
                  <a:pt x="2309" y="1962"/>
                </a:lnTo>
                <a:close/>
                <a:moveTo>
                  <a:pt x="397" y="757"/>
                </a:moveTo>
                <a:lnTo>
                  <a:pt x="850" y="757"/>
                </a:lnTo>
                <a:lnTo>
                  <a:pt x="850" y="495"/>
                </a:lnTo>
                <a:lnTo>
                  <a:pt x="397" y="495"/>
                </a:lnTo>
                <a:lnTo>
                  <a:pt x="397" y="288"/>
                </a:lnTo>
                <a:lnTo>
                  <a:pt x="898" y="288"/>
                </a:lnTo>
                <a:lnTo>
                  <a:pt x="732" y="0"/>
                </a:lnTo>
                <a:lnTo>
                  <a:pt x="22" y="0"/>
                </a:lnTo>
                <a:lnTo>
                  <a:pt x="22" y="1251"/>
                </a:lnTo>
                <a:lnTo>
                  <a:pt x="1023" y="1251"/>
                </a:lnTo>
                <a:lnTo>
                  <a:pt x="1023" y="963"/>
                </a:lnTo>
                <a:lnTo>
                  <a:pt x="397" y="963"/>
                </a:lnTo>
                <a:lnTo>
                  <a:pt x="397" y="757"/>
                </a:lnTo>
                <a:close/>
                <a:moveTo>
                  <a:pt x="1690" y="0"/>
                </a:moveTo>
                <a:lnTo>
                  <a:pt x="1477" y="409"/>
                </a:lnTo>
                <a:lnTo>
                  <a:pt x="1265" y="0"/>
                </a:lnTo>
                <a:lnTo>
                  <a:pt x="850" y="0"/>
                </a:lnTo>
                <a:lnTo>
                  <a:pt x="1287" y="757"/>
                </a:lnTo>
                <a:lnTo>
                  <a:pt x="1287" y="1251"/>
                </a:lnTo>
                <a:lnTo>
                  <a:pt x="1661" y="1251"/>
                </a:lnTo>
                <a:lnTo>
                  <a:pt x="1661" y="757"/>
                </a:lnTo>
                <a:lnTo>
                  <a:pt x="2099" y="0"/>
                </a:lnTo>
                <a:lnTo>
                  <a:pt x="169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8C1C37-D629-4912-94B0-CC62B25036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2"/>
            <a:ext cx="12198350" cy="6856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282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lass wall of a building with a staircase and a large room&#10;&#10;Description automatically generated with medium confidence">
            <a:extLst>
              <a:ext uri="{FF2B5EF4-FFF2-40B4-BE49-F238E27FC236}">
                <a16:creationId xmlns:a16="http://schemas.microsoft.com/office/drawing/2014/main" id="{21089A82-E1C1-D634-FF72-CCF3D8A361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29" b="7829"/>
          <a:stretch/>
        </p:blipFill>
        <p:spPr>
          <a:xfrm>
            <a:off x="7920" y="0"/>
            <a:ext cx="12198350" cy="6858000"/>
          </a:xfrm>
          <a:prstGeom prst="rect">
            <a:avLst/>
          </a:prstGeom>
        </p:spPr>
      </p:pic>
      <p:grpSp>
        <p:nvGrpSpPr>
          <p:cNvPr id="2" name="Group 4">
            <a:extLst>
              <a:ext uri="{FF2B5EF4-FFF2-40B4-BE49-F238E27FC236}">
                <a16:creationId xmlns:a16="http://schemas.microsoft.com/office/drawing/2014/main" id="{532D83A6-8265-4F7E-B894-27FC604AF18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9F8DFC28-643E-4AB3-9759-31A17DE466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EAD0A289-D86F-4D57-BBEC-17E6A7D6B6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8F0DEC33-1332-4BB5-B434-CDF64C7DC7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39F3668C-5C2C-4FD5-8234-C7556836154F}"/>
              </a:ext>
            </a:extLst>
          </p:cNvPr>
          <p:cNvSpPr/>
          <p:nvPr userDrawn="1"/>
        </p:nvSpPr>
        <p:spPr>
          <a:xfrm>
            <a:off x="15840" y="0"/>
            <a:ext cx="12190430" cy="6858000"/>
          </a:xfrm>
          <a:prstGeom prst="rect">
            <a:avLst/>
          </a:prstGeom>
          <a:gradFill>
            <a:gsLst>
              <a:gs pos="0">
                <a:schemeClr val="bg2">
                  <a:alpha val="44000"/>
                </a:schemeClr>
              </a:gs>
              <a:gs pos="50000">
                <a:schemeClr val="bg2">
                  <a:alpha val="24000"/>
                </a:schemeClr>
              </a:gs>
              <a:gs pos="100000">
                <a:schemeClr val="bg2">
                  <a:alpha val="21000"/>
                </a:schemeClr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4055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F6AF4AF3-7CF7-4A0E-9CBD-E584B7DF443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F175A7B-4653-4F6D-AEF4-75B72CEBC7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84C57EA4-8E30-4ABC-9B54-28E8F3DC6D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7B27E8BE-1714-48FB-977E-741A7DF67A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7872000A-B571-4863-850B-1477F6A49295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90C11F2C-B491-4099-9440-B9FD7EEFF5EE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9EE3DC99-69E0-4E1B-A41E-424911E9963A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12524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loorpla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91A76C4-C7F8-4415-96B3-FC0A174A0B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23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589" y="1484313"/>
            <a:ext cx="10964974" cy="4568739"/>
          </a:xfrm>
          <a:prstGeom prst="rect">
            <a:avLst/>
          </a:prstGeom>
        </p:spPr>
      </p:pic>
      <p:grpSp>
        <p:nvGrpSpPr>
          <p:cNvPr id="13" name="Group 4">
            <a:extLst>
              <a:ext uri="{FF2B5EF4-FFF2-40B4-BE49-F238E27FC236}">
                <a16:creationId xmlns:a16="http://schemas.microsoft.com/office/drawing/2014/main" id="{C80E3A5E-CF39-4A06-82A1-EBA8524CE89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DAF0750-3EC1-4283-8852-9BD4FA1A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2C1C7064-3539-4BBC-8618-7D5706099A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F60CD00-6A4F-40C0-BD5B-7C60ACF92E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7" name="Date Placeholder 1">
            <a:extLst>
              <a:ext uri="{FF2B5EF4-FFF2-40B4-BE49-F238E27FC236}">
                <a16:creationId xmlns:a16="http://schemas.microsoft.com/office/drawing/2014/main" id="{4FD70837-F170-4EB1-A52A-F08161281421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BF36CD2D-2F4E-4096-BDE0-E733F69FC529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E2D8570A-48FE-408C-902D-54BF99C71AE2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A2C82F5-9803-42F7-B768-117A6E0645BE}"/>
              </a:ext>
            </a:extLst>
          </p:cNvPr>
          <p:cNvCxnSpPr/>
          <p:nvPr userDrawn="1"/>
        </p:nvCxnSpPr>
        <p:spPr>
          <a:xfrm flipV="1">
            <a:off x="10682514" y="5123543"/>
            <a:ext cx="934357" cy="934357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0D19C11-CE13-4725-A7EE-83CD61B65A9C}"/>
              </a:ext>
            </a:extLst>
          </p:cNvPr>
          <p:cNvCxnSpPr>
            <a:cxnSpLocks/>
          </p:cNvCxnSpPr>
          <p:nvPr userDrawn="1"/>
        </p:nvCxnSpPr>
        <p:spPr>
          <a:xfrm>
            <a:off x="8755063" y="1484313"/>
            <a:ext cx="2868500" cy="0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C21151A-6100-47C4-8CDF-E9A463F5C7CC}"/>
              </a:ext>
            </a:extLst>
          </p:cNvPr>
          <p:cNvCxnSpPr>
            <a:cxnSpLocks/>
          </p:cNvCxnSpPr>
          <p:nvPr userDrawn="1"/>
        </p:nvCxnSpPr>
        <p:spPr>
          <a:xfrm>
            <a:off x="957137" y="6057900"/>
            <a:ext cx="6387092" cy="0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71E403A-4580-47E4-BC64-792D43EE39DF}"/>
              </a:ext>
            </a:extLst>
          </p:cNvPr>
          <p:cNvCxnSpPr>
            <a:cxnSpLocks/>
          </p:cNvCxnSpPr>
          <p:nvPr userDrawn="1"/>
        </p:nvCxnSpPr>
        <p:spPr>
          <a:xfrm>
            <a:off x="627063" y="1750060"/>
            <a:ext cx="0" cy="659311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F8CBE6E-D913-45CA-B7FC-B0E8581F987C}"/>
              </a:ext>
            </a:extLst>
          </p:cNvPr>
          <p:cNvCxnSpPr/>
          <p:nvPr userDrawn="1"/>
        </p:nvCxnSpPr>
        <p:spPr>
          <a:xfrm>
            <a:off x="627063" y="3759199"/>
            <a:ext cx="0" cy="91440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B15AB41-FFF1-46EA-A8BD-833CA3AA3625}"/>
              </a:ext>
            </a:extLst>
          </p:cNvPr>
          <p:cNvCxnSpPr>
            <a:cxnSpLocks/>
          </p:cNvCxnSpPr>
          <p:nvPr userDrawn="1"/>
        </p:nvCxnSpPr>
        <p:spPr>
          <a:xfrm>
            <a:off x="944880" y="1484313"/>
            <a:ext cx="3441140" cy="0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4D4D306-F284-44A2-822B-A4EC4B6BA749}"/>
              </a:ext>
            </a:extLst>
          </p:cNvPr>
          <p:cNvCxnSpPr>
            <a:cxnSpLocks/>
          </p:cNvCxnSpPr>
          <p:nvPr userDrawn="1"/>
        </p:nvCxnSpPr>
        <p:spPr>
          <a:xfrm>
            <a:off x="11623563" y="2588217"/>
            <a:ext cx="0" cy="1030026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7614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4">
            <a:extLst>
              <a:ext uri="{FF2B5EF4-FFF2-40B4-BE49-F238E27FC236}">
                <a16:creationId xmlns:a16="http://schemas.microsoft.com/office/drawing/2014/main" id="{0DECF998-2C65-4A7D-9389-6A6F45FEE15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9B7592BA-4DF9-45EB-9010-161FB88388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48B168B8-992D-4EC8-89D2-A1BBC6A9E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B56B77D1-2F9C-440B-95E6-07F1CA3E9E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BB56A396-9367-4551-B61B-9FEB81A03866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/>
              <a:t>Introduction to </a:t>
            </a:r>
            <a:r>
              <a:rPr lang="en-US" err="1"/>
              <a:t>EY@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95437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5456237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5234" y="1484312"/>
            <a:ext cx="5336054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20447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6877050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12064" y="1484313"/>
            <a:ext cx="3959224" cy="224155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12064" y="3805482"/>
            <a:ext cx="3959224" cy="224155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3094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Images slide_al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3597592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331970" y="1484312"/>
            <a:ext cx="3554730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8140" y="1484313"/>
            <a:ext cx="3593148" cy="456271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6314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6043612" cy="20589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527676" y="3634740"/>
            <a:ext cx="6043612" cy="242315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777990" y="1484313"/>
            <a:ext cx="4793298" cy="20589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2938" y="3634740"/>
            <a:ext cx="4791456" cy="242315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4165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Images slide_al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3494722" cy="457358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77534" y="1484314"/>
            <a:ext cx="3393754" cy="457358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29100" y="1484313"/>
            <a:ext cx="3831592" cy="20589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100" y="3634740"/>
            <a:ext cx="3831592" cy="242315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6387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5560430" cy="225343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94808" y="1484313"/>
            <a:ext cx="5276480" cy="22534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60570" y="3829190"/>
            <a:ext cx="3404660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60692" y="3829190"/>
            <a:ext cx="3510596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F3872E90-C912-43E5-B791-45F35DB539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26" y="3829190"/>
            <a:ext cx="3822282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68459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Images slide_al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137659" y="1484313"/>
            <a:ext cx="3511296" cy="225343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739128" y="1484313"/>
            <a:ext cx="3832160" cy="22534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37659" y="3829190"/>
            <a:ext cx="3827571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60692" y="3829190"/>
            <a:ext cx="3510596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F3872E90-C912-43E5-B791-45F35DB539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26" y="1484314"/>
            <a:ext cx="3404660" cy="457358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257363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55723" y="1484313"/>
            <a:ext cx="3393231" cy="225343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739128" y="1484313"/>
            <a:ext cx="3832160" cy="22534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0" y="3829190"/>
            <a:ext cx="3393230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60692" y="3829190"/>
            <a:ext cx="3510596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F3872E90-C912-43E5-B791-45F35DB539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26" y="3829190"/>
            <a:ext cx="3831336" cy="222871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529C6131-DCC0-4522-BB55-858E29316D2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42826" y="1484313"/>
            <a:ext cx="3511296" cy="225343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503732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4">
            <a:extLst>
              <a:ext uri="{FF2B5EF4-FFF2-40B4-BE49-F238E27FC236}">
                <a16:creationId xmlns:a16="http://schemas.microsoft.com/office/drawing/2014/main" id="{0DECF998-2C65-4A7D-9389-6A6F45FEE15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9B7592BA-4DF9-45EB-9010-161FB88388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48B168B8-992D-4EC8-89D2-A1BBC6A9E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B56B77D1-2F9C-440B-95E6-07F1CA3E9E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8" name="Date Placeholder 1">
            <a:extLst>
              <a:ext uri="{FF2B5EF4-FFF2-40B4-BE49-F238E27FC236}">
                <a16:creationId xmlns:a16="http://schemas.microsoft.com/office/drawing/2014/main" id="{B6316B3F-B435-41A9-AA06-352A12B16593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BB56A396-9367-4551-B61B-9FEB81A03866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B4235BE6-0CC8-420C-8EDC-6DAFCE1BF1B1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28357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bg>
      <p:bgPr>
        <a:solidFill>
          <a:schemeClr val="tx1">
            <a:alpha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50FF280-6C88-44E3-A978-0BFCF9739FE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5" y="0"/>
            <a:ext cx="12192000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69B0CC2-BC26-4633-8227-9FB69D5306F7}"/>
              </a:ext>
            </a:extLst>
          </p:cNvPr>
          <p:cNvSpPr>
            <a:spLocks/>
          </p:cNvSpPr>
          <p:nvPr userDrawn="1"/>
        </p:nvSpPr>
        <p:spPr>
          <a:xfrm>
            <a:off x="-4745" y="0"/>
            <a:ext cx="12198350" cy="6858000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22C3567-870C-4F85-8F5F-079EDA12A1A4}"/>
              </a:ext>
            </a:extLst>
          </p:cNvPr>
          <p:cNvSpPr/>
          <p:nvPr userDrawn="1"/>
        </p:nvSpPr>
        <p:spPr>
          <a:xfrm>
            <a:off x="3175" y="0"/>
            <a:ext cx="12190430" cy="6858000"/>
          </a:xfrm>
          <a:prstGeom prst="rect">
            <a:avLst/>
          </a:prstGeom>
          <a:solidFill>
            <a:schemeClr val="bg2">
              <a:alpha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5215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388CF986-E6D2-86D0-6501-D59429EAD0A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DB4372B3-E211-F19D-CBD9-6CEDF871BD0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87AE7D4-D909-4109-A95D-3FC199CCB2C0}" type="datetime1">
              <a:rPr lang="en-US" smtClean="0"/>
              <a:t>3/14/25</a:t>
            </a:fld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3173B02-1E93-D358-4602-350A7447C7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A5E3423F-0FF8-8E54-CEB8-1F15261AFD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D3CF5FC1-8EBA-8F68-D0E5-727D21919C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AE5FDF1F-8E3A-FB66-7C81-266601DA400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91C765C7-1DD0-DFBB-9089-29849D42BA8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50B43463-538D-A50A-4299-A6C5A973766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039140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011D3B6-538A-4B2A-980D-F9B09FECEEF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4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541E971-3EBE-4ADE-A743-1E94AA100804}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12198349" cy="6858000"/>
          </a:xfrm>
          <a:prstGeom prst="rect">
            <a:avLst/>
          </a:prstGeom>
          <a:solidFill>
            <a:schemeClr val="bg2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49454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1CA99849-5A04-4869-89F7-8AC1B304350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F3046E73-2500-4E81-BF0A-62AE7CD777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1A4D0B7-781A-4456-B560-EDC98B6F9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EB69D5B9-ABD3-4730-A6B5-7C864FC502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3A526B65-2F56-442F-8B99-E9E846995CEA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48A14746-3306-4948-85B6-A17FD5B749EA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05810686-81BC-4C92-9BC0-A5772529DEB3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673682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rgbClr val="2E2E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430996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rry image of a rainbow&#10;&#10;Description automatically generated">
            <a:extLst>
              <a:ext uri="{FF2B5EF4-FFF2-40B4-BE49-F238E27FC236}">
                <a16:creationId xmlns:a16="http://schemas.microsoft.com/office/drawing/2014/main" id="{317BE7A3-A673-B58A-8BE4-D36A0E590D3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3D8D2553-DCAF-2D9D-2138-FE4E794B7FFA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97" name="Freeform 296">
              <a:extLst>
                <a:ext uri="{FF2B5EF4-FFF2-40B4-BE49-F238E27FC236}">
                  <a16:creationId xmlns:a16="http://schemas.microsoft.com/office/drawing/2014/main" id="{AD4E5D8B-12B4-19F3-17D4-D12BF368FC85}"/>
                </a:ext>
              </a:extLst>
            </p:cNvPr>
            <p:cNvSpPr/>
            <p:nvPr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98" name="Freeform 297">
              <a:extLst>
                <a:ext uri="{FF2B5EF4-FFF2-40B4-BE49-F238E27FC236}">
                  <a16:creationId xmlns:a16="http://schemas.microsoft.com/office/drawing/2014/main" id="{219789D6-6B07-F2E6-06BE-8CA9DC83E385}"/>
                </a:ext>
              </a:extLst>
            </p:cNvPr>
            <p:cNvSpPr/>
            <p:nvPr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767D4D9-A47B-4020-6B9B-87B081166C85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99" name="Freeform 298">
              <a:extLst>
                <a:ext uri="{FF2B5EF4-FFF2-40B4-BE49-F238E27FC236}">
                  <a16:creationId xmlns:a16="http://schemas.microsoft.com/office/drawing/2014/main" id="{70589FC3-4491-BD75-2C16-660DF0B71BBC}"/>
                </a:ext>
              </a:extLst>
            </p:cNvPr>
            <p:cNvSpPr/>
            <p:nvPr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93" name="Freeform 292">
              <a:extLst>
                <a:ext uri="{FF2B5EF4-FFF2-40B4-BE49-F238E27FC236}">
                  <a16:creationId xmlns:a16="http://schemas.microsoft.com/office/drawing/2014/main" id="{B00DB918-F11D-F855-5478-ECB25A1AC3D1}"/>
                </a:ext>
              </a:extLst>
            </p:cNvPr>
            <p:cNvSpPr/>
            <p:nvPr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FF32FF"/>
                </a:gs>
                <a:gs pos="100000">
                  <a:srgbClr val="32FF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  <p:sp>
        <p:nvSpPr>
          <p:cNvPr id="274" name="Subtitle 2">
            <a:extLst>
              <a:ext uri="{FF2B5EF4-FFF2-40B4-BE49-F238E27FC236}">
                <a16:creationId xmlns:a16="http://schemas.microsoft.com/office/drawing/2014/main" id="{74103396-CF0A-A808-BF1B-463C3EF737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75" name="Title 4">
            <a:extLst>
              <a:ext uri="{FF2B5EF4-FFF2-40B4-BE49-F238E27FC236}">
                <a16:creationId xmlns:a16="http://schemas.microsoft.com/office/drawing/2014/main" id="{B57CD4DB-AED0-4F7E-41BA-02CA96598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89" name="Text Placeholder 288">
            <a:extLst>
              <a:ext uri="{FF2B5EF4-FFF2-40B4-BE49-F238E27FC236}">
                <a16:creationId xmlns:a16="http://schemas.microsoft.com/office/drawing/2014/main" id="{31D45A6D-135C-8C27-4F13-A3BC79AB3E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10" name="Group 309">
            <a:extLst>
              <a:ext uri="{FF2B5EF4-FFF2-40B4-BE49-F238E27FC236}">
                <a16:creationId xmlns:a16="http://schemas.microsoft.com/office/drawing/2014/main" id="{CE838069-3AB1-D532-FB66-FDAEA51877B1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311" name="Freeform 310">
              <a:extLst>
                <a:ext uri="{FF2B5EF4-FFF2-40B4-BE49-F238E27FC236}">
                  <a16:creationId xmlns:a16="http://schemas.microsoft.com/office/drawing/2014/main" id="{E6AE5B0D-79EC-EE9E-636A-1E7D4A6A240A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2" name="Freeform 311">
              <a:extLst>
                <a:ext uri="{FF2B5EF4-FFF2-40B4-BE49-F238E27FC236}">
                  <a16:creationId xmlns:a16="http://schemas.microsoft.com/office/drawing/2014/main" id="{8B00C66D-FD9B-3996-472E-1CEF16690026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97403910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pectru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right light in the dark&#10;&#10;Description automatically generated">
            <a:extLst>
              <a:ext uri="{FF2B5EF4-FFF2-40B4-BE49-F238E27FC236}">
                <a16:creationId xmlns:a16="http://schemas.microsoft.com/office/drawing/2014/main" id="{963FEC0B-473D-E3B8-1E1E-E29DFA66AD11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D6511197-B1BA-E6CC-13B8-2DD99B355A04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1EE8315B-FEB1-CC4D-6FB1-F5D1F2C1EE95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F51C6EC0-0FDE-C123-7424-1752D2374435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FB16D98-C784-FAB9-BCBC-EA53480E5BA8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4788DF65-E85A-7EA9-F2BB-B439D5C7EB16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DB6421F7-1BA7-70C3-4C7B-0694CD3F9A6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E0E8BD61-2DD9-6340-EB16-98CFEA0A221D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4038A11-FAB8-DE3A-2D5D-3D1F11925688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FD45E8E5-E623-933A-074B-D3B9860ABECB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A420F8"/>
                </a:gs>
                <a:gs pos="100000">
                  <a:srgbClr val="5C94F9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4CE2B77E-5DDA-CC5C-A575-69779E57947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2C2EB3B4-62C2-DB27-F905-7B5310DF5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41B1F747-977A-C01C-9182-B92C691E57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966345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pectrum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light in the dark&#10;&#10;Description automatically generated">
            <a:extLst>
              <a:ext uri="{FF2B5EF4-FFF2-40B4-BE49-F238E27FC236}">
                <a16:creationId xmlns:a16="http://schemas.microsoft.com/office/drawing/2014/main" id="{76F31E31-25A6-21A9-5DF2-0E1AA48A3DF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195E5ED2-D1BB-AC6E-BF6A-D4BD239F1FE9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1D43938-5757-1C8A-B3BA-59EC353FB68E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FF32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77910980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Yellow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D5BBB5A-0446-3C14-B12C-56A5730E1C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4EF81A0-CB40-42B3-5E1A-AA5D72BFB4DD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C1D2CA-2DB1-76BC-DAFE-210631AEC288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solidFill>
              <a:schemeClr val="tx2"/>
            </a:soli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76343380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Wri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36FA399-654A-7130-1FF0-0F0197A98C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11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38649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1272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44759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B01B256-70C6-9663-9CC6-1F22ADBAE7C3}"/>
              </a:ext>
            </a:extLst>
          </p:cNvPr>
          <p:cNvGrpSpPr/>
          <p:nvPr userDrawn="1"/>
        </p:nvGrpSpPr>
        <p:grpSpPr>
          <a:xfrm>
            <a:off x="486027" y="719509"/>
            <a:ext cx="5709082" cy="4360545"/>
            <a:chOff x="485774" y="719508"/>
            <a:chExt cx="5706110" cy="4360545"/>
          </a:xfrm>
        </p:grpSpPr>
        <p:sp>
          <p:nvSpPr>
            <p:cNvPr id="10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49784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1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7195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solidFill>
              <a:schemeClr val="tx2"/>
            </a:soli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EEB2775D-C14D-1FFE-E3E9-4E62DDA32301}"/>
              </a:ext>
            </a:extLst>
          </p:cNvPr>
          <p:cNvSpPr txBox="1"/>
          <p:nvPr userDrawn="1"/>
        </p:nvSpPr>
        <p:spPr>
          <a:xfrm>
            <a:off x="462225" y="5552405"/>
            <a:ext cx="104561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chemeClr val="bg1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FAE2F50B-78AF-04F3-4BFF-980630AF7A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879" y="5966393"/>
            <a:ext cx="3090884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5473ED8-C1F4-379D-AE01-5E7A3D5F34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879" y="6164011"/>
            <a:ext cx="3090884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8" name="Picture Placeholder 19">
            <a:extLst>
              <a:ext uri="{FF2B5EF4-FFF2-40B4-BE49-F238E27FC236}">
                <a16:creationId xmlns:a16="http://schemas.microsoft.com/office/drawing/2014/main" id="{812BC08D-D0F7-900D-1481-4C172F6BE56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2224" y="5861846"/>
            <a:ext cx="5763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25B130A-4E65-32BD-4CB8-C7E2B623FD74}"/>
              </a:ext>
            </a:extLst>
          </p:cNvPr>
          <p:cNvCxnSpPr>
            <a:cxnSpLocks/>
          </p:cNvCxnSpPr>
          <p:nvPr userDrawn="1"/>
        </p:nvCxnSpPr>
        <p:spPr>
          <a:xfrm>
            <a:off x="1333879" y="5656264"/>
            <a:ext cx="8126331" cy="0"/>
          </a:xfrm>
          <a:prstGeom prst="line">
            <a:avLst/>
          </a:prstGeom>
          <a:ln w="9525" cap="flat" cmpd="sng" algn="ctr">
            <a:solidFill>
              <a:srgbClr val="C4C4CD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112147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713817A-1A0E-6215-C86F-711F67622A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167EEE6-F985-2112-F3A8-85F1A04A37BD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66D7E4E-2A81-A5AB-16CA-DBCEFBD59141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FF32FF"/>
                </a:gs>
                <a:gs pos="100000">
                  <a:srgbClr val="32FF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94525143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7B25F44-CAE3-AE0B-B97B-B0F6E4B43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E7E8938-439A-DB5B-B3DF-7EF202013D57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A067759-C6C3-3B7B-ABF5-859A6A63528E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CC99724B-50FD-5B78-B6B7-D645073026A7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A420F8"/>
                </a:gs>
                <a:gs pos="100000">
                  <a:srgbClr val="5C94F9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8777516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IN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703068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D8D4830-1AF6-9C3D-EC53-70FC3C7CBE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E8BA944B-A631-ACF6-36AE-7C814C7A5C9A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1B984E4-95BA-5123-1CFC-48CE97FD8196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" name="Freeform 1">
              <a:extLst>
                <a:ext uri="{FF2B5EF4-FFF2-40B4-BE49-F238E27FC236}">
                  <a16:creationId xmlns:a16="http://schemas.microsoft.com/office/drawing/2014/main" id="{63327741-8A1F-B922-5F7C-0313A67883A4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FF32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88078353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2D7BB4A-5FCC-BE0E-4598-A4CBBA847A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DE89320-B084-3AA1-F041-ECD9699F7EF4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76002E9-E0C8-43F6-867E-B59C9AE9217B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00C864"/>
                </a:gs>
                <a:gs pos="100000">
                  <a:srgbClr val="4696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77316614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CF5E0C7-6CC4-C4E1-946D-4BAC78CCDA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2E27567-DFCD-709F-AF40-B7A340ECC0FE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AC690EE-1BB8-29C6-B9D8-2BD7B4AE0781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32FF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4104899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71B9AAE-F698-5F49-FF7D-DB273B1EE1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0068369-6C63-44AF-3E4E-30E5F2D1F837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F7E7875-967C-8167-6219-7AD2981B3A46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32FF"/>
                </a:gs>
                <a:gs pos="100000">
                  <a:srgbClr val="E95023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08618639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EAFCAD8-0916-AF46-1471-030E4128E2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A89752D-8E95-B790-7077-E6201AB412C3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6FD7948-9E7C-1CE1-F28B-D2D349BB86F0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C5FD45"/>
                </a:gs>
                <a:gs pos="100000">
                  <a:srgbClr val="80FBFD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5451596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388CF986-E6D2-86D0-6501-D59429EAD0A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DB4372B3-E211-F19D-CBD9-6CEDF871BD0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87AE7D4-D909-4109-A95D-3FC199CCB2C0}" type="datetime1">
              <a:rPr lang="en-US" smtClean="0"/>
              <a:t>3/14/25</a:t>
            </a:fld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3173B02-1E93-D358-4602-350A7447C7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A5E3423F-0FF8-8E54-CEB8-1F15261AFD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D3CF5FC1-8EBA-8F68-D0E5-727D21919C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AE5FDF1F-8E3A-FB66-7C81-266601DA400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91C765C7-1DD0-DFBB-9089-29849D42BA8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50B43463-538D-A50A-4299-A6C5A973766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185126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ADC82D1B-1943-B3BC-B7E9-DADF1458A76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F04263E-9F32-7609-1152-7E305FEBE74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4E59C0B-A301-47D7-A25C-27D2115D1CC3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F7F02905-9FFE-65B7-8565-3E827BBAEC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10BD8AE-BB2B-B523-1D74-4E8DBE210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7" name="Group 4">
            <a:extLst>
              <a:ext uri="{FF2B5EF4-FFF2-40B4-BE49-F238E27FC236}">
                <a16:creationId xmlns:a16="http://schemas.microsoft.com/office/drawing/2014/main" id="{6C50EF9C-A411-B76F-4417-55EA0CDCAD2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5CE13AFD-214E-24E8-0633-0508635B5C0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A88E5DF2-C2EC-705B-7734-81A5ACCECEC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2EF38C94-0C58-F9C8-0963-86769B7977B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888075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light in the dark&#10;&#10;Description automatically generated">
            <a:extLst>
              <a:ext uri="{FF2B5EF4-FFF2-40B4-BE49-F238E27FC236}">
                <a16:creationId xmlns:a16="http://schemas.microsoft.com/office/drawing/2014/main" id="{A6C92DE9-1F7F-6A8E-389D-FBCE38254AD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A4B60AF8-644E-A0B2-7653-4332A03759F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37D316F-1268-4431-A741-5D0F481E1DCF}" type="datetime1">
              <a:rPr lang="en-US" smtClean="0"/>
              <a:t>3/14/25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466D1FDE-8AD4-4D56-5318-1DD8ED2FCA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180F9161-0A5B-9390-AAC5-925D1AE2AA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DFFE949A-6E9F-DCCB-3981-444F818B70A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E874CEB-2D3F-A7FC-68BB-B1E5B73F857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4BE24A05-3707-8B71-381D-4FC6EE679AF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EF9B997-BE91-43C4-F809-E78685E578A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6573378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blurry image of a rainbow&#10;&#10;Description automatically generated">
            <a:extLst>
              <a:ext uri="{FF2B5EF4-FFF2-40B4-BE49-F238E27FC236}">
                <a16:creationId xmlns:a16="http://schemas.microsoft.com/office/drawing/2014/main" id="{C8E8709F-6A78-59BB-D254-AE4C7F2A57D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A3F83A6-1D48-7A59-F89B-1AD446292A9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35555C3-DC00-46EA-9086-667F713D2BC0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7E103D91-874B-B49F-B9D9-85F52EAD810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C95BFB4-BABD-DFFF-43A5-9ABB8A6638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798A70C5-9B3E-7941-E067-8A9791BCF2D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FF0F4F06-C9A4-A997-AB67-59B717C1376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D63C193D-825D-B7A7-F2EF-F53A601001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44996D9C-EDDB-9A0C-B93D-E5808F8C79D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926638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olorful circle on a black background&#10;&#10;Description automatically generated">
            <a:extLst>
              <a:ext uri="{FF2B5EF4-FFF2-40B4-BE49-F238E27FC236}">
                <a16:creationId xmlns:a16="http://schemas.microsoft.com/office/drawing/2014/main" id="{9B1A0959-0F7F-FF84-F8C5-2E76E9D45F4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B5D9BED5-140F-F03D-CA60-9453F1A86D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C227FF4-7010-4A9A-B837-FB3A97078B9E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E931943E-2952-F25A-ECCA-F329235A73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BCB7712-53BF-0892-3D4B-354DE5C528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2CBC4E2-6D56-5589-38B7-123BB8BE7485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A8D992E6-EAE7-83CF-5B22-7C7DCDB38DC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DDA26C30-C61D-FE6C-E1DC-6A89E2511A9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69AE1E0B-DC05-6DB6-F457-D229556B4C4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79752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IN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851081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rry image of a rainbow&#10;&#10;Description automatically generated">
            <a:extLst>
              <a:ext uri="{FF2B5EF4-FFF2-40B4-BE49-F238E27FC236}">
                <a16:creationId xmlns:a16="http://schemas.microsoft.com/office/drawing/2014/main" id="{36630E4E-7F64-A84B-6022-F16994E9537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305361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2169200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85000"/>
              </a:lnSpc>
              <a:spcAft>
                <a:spcPts val="0"/>
              </a:spcAft>
              <a:buNone/>
              <a:defRPr kumimoji="0" lang="en-US" sz="16600" b="1" i="0" u="none" strike="noStrike" kern="1200" cap="none" spc="0" normalizeH="0" baseline="0" dirty="0">
                <a:ln>
                  <a:noFill/>
                </a:ln>
                <a:solidFill>
                  <a:srgbClr val="747480">
                    <a:alpha val="50000"/>
                  </a:srgbClr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1pPr>
          </a:lstStyle>
          <a:p>
            <a:pPr marL="0" marR="0" lvl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B5D9BED5-140F-F03D-CA60-9453F1A86D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6564291-F29B-4C72-84F6-A40A5470E5DC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E931943E-2952-F25A-ECCA-F329235A73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BCB7712-53BF-0892-3D4B-354DE5C528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F2D79ED6-4894-2B8B-D862-974AC88E705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F6B658B-99C5-075E-8FBB-F68A5010C40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4D5FE3CF-44B0-DC6A-D098-1142A9EF999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0B46547D-1401-03DA-C2CC-733F034C790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920383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rry image of a rainbow&#10;&#10;Description automatically generated">
            <a:extLst>
              <a:ext uri="{FF2B5EF4-FFF2-40B4-BE49-F238E27FC236}">
                <a16:creationId xmlns:a16="http://schemas.microsoft.com/office/drawing/2014/main" id="{0CF60EBF-BB0E-A13F-6F1D-8E03C5FC39A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30FFC6-DEA1-5FCD-0ABD-350186ADB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777" y="369888"/>
            <a:ext cx="3316427" cy="470898"/>
          </a:xfrm>
        </p:spPr>
        <p:txBody>
          <a:bodyPr/>
          <a:lstStyle/>
          <a:p>
            <a:r>
              <a:rPr lang="en-GB"/>
              <a:t>Contents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8AEA00-448F-1217-B10E-ABF6D402B4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6028" y="1411288"/>
            <a:ext cx="5101706" cy="4638675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/>
              <a:t>Introduction text goes here and delete the bullet if not require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6B67F104-BCCD-4057-9F3C-70C29E057A5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06A2DFB-6B6C-4D18-9FE2-B8F776637D13}" type="datetime1">
              <a:rPr lang="en-US" smtClean="0"/>
              <a:t>3/14/25</a:t>
            </a:fld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6880D4C2-A728-3810-8EAF-6AC78A949B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4CB206C2-DFD0-9033-25AE-68BCB50C193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A244641-8AF5-E5A2-18FB-105E0DDC42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02824" y="1411288"/>
            <a:ext cx="5613147" cy="4638675"/>
          </a:xfrm>
        </p:spPr>
        <p:txBody>
          <a:bodyPr/>
          <a:lstStyle>
            <a:lvl1pPr marL="457200" indent="-457200">
              <a:buFont typeface="+mj-lt"/>
              <a:buAutoNum type="arabicPeriod"/>
              <a:defRPr sz="1800"/>
            </a:lvl1pPr>
            <a:lvl2pPr marL="914400" indent="-457200">
              <a:defRPr sz="1600"/>
            </a:lvl2pPr>
            <a:lvl3pPr marL="914400" indent="-457200">
              <a:defRPr sz="1600"/>
            </a:lvl3pPr>
            <a:lvl4pPr marL="914400" indent="-457200">
              <a:defRPr sz="1400"/>
            </a:lvl4pPr>
            <a:lvl5pPr marL="914400" indent="-457200">
              <a:defRPr sz="1400"/>
            </a:lvl5pPr>
          </a:lstStyle>
          <a:p>
            <a:pPr lvl="0"/>
            <a:r>
              <a:rPr lang="en-IN"/>
              <a:t>Section header goes here and to insert page numbers use the tab button on the keyboar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6A947DDB-75DB-76B2-ADC5-D93B38D4183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777A9F83-CB8D-4479-6968-8B47D931EEB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6B1C04DF-19FD-1D5D-56C9-211BF50EB23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7297F736-140F-E853-3848-EA573A1B3C5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794208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right light in the dark&#10;&#10;Description automatically generated">
            <a:extLst>
              <a:ext uri="{FF2B5EF4-FFF2-40B4-BE49-F238E27FC236}">
                <a16:creationId xmlns:a16="http://schemas.microsoft.com/office/drawing/2014/main" id="{C6893964-B096-BBF5-42BC-1EAE055022BA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B9199D71-1BDD-2925-CD92-9B0B3F8439E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57957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8391354-FDE4-DE4D-8084-A61467B9F4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 flipH="1">
            <a:off x="2846903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F575A1BC-5BD6-1793-C917-0720FC3DE98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19084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CBCE1B-3F39-C7B5-CCE2-AE84242E77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 flipH="1">
            <a:off x="5208030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814015C2-B8E4-B890-4CD0-F6A3A2052CA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69157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37959C9A-F406-FB92-6FFF-08F42234CF9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841337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BC6A6256-32C1-F83C-4A32-D674785CF1D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930283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776" y="369888"/>
            <a:ext cx="11230193" cy="470898"/>
          </a:xfr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20A2165-CDB3-28AA-F42A-E5E3D72C14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829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78D4931-12A7-7D80-F380-EDF6BE10CA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5776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8D52684-7A0E-2BDF-C56C-F721FED04E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480211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6" name="SmartArt Placeholder 35">
            <a:extLst>
              <a:ext uri="{FF2B5EF4-FFF2-40B4-BE49-F238E27FC236}">
                <a16:creationId xmlns:a16="http://schemas.microsoft.com/office/drawing/2014/main" id="{6D23DAA3-59C7-A352-8728-D157F22D25EF}"/>
              </a:ext>
            </a:extLst>
          </p:cNvPr>
          <p:cNvSpPr>
            <a:spLocks noGrp="1"/>
          </p:cNvSpPr>
          <p:nvPr>
            <p:ph type="dgm" sz="quarter" idx="36" hasCustomPrompt="1"/>
          </p:nvPr>
        </p:nvSpPr>
        <p:spPr>
          <a:xfrm>
            <a:off x="2557381" y="2020781"/>
            <a:ext cx="3602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7" name="SmartArt Placeholder 35">
            <a:extLst>
              <a:ext uri="{FF2B5EF4-FFF2-40B4-BE49-F238E27FC236}">
                <a16:creationId xmlns:a16="http://schemas.microsoft.com/office/drawing/2014/main" id="{D33DFC67-321E-4CFE-436A-CF6FA96BA7E4}"/>
              </a:ext>
            </a:extLst>
          </p:cNvPr>
          <p:cNvSpPr>
            <a:spLocks noGrp="1"/>
          </p:cNvSpPr>
          <p:nvPr>
            <p:ph type="dgm" sz="quarter" idx="37" hasCustomPrompt="1"/>
          </p:nvPr>
        </p:nvSpPr>
        <p:spPr>
          <a:xfrm flipH="1">
            <a:off x="4918508" y="2020781"/>
            <a:ext cx="3602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8" name="SmartArt Placeholder 35">
            <a:extLst>
              <a:ext uri="{FF2B5EF4-FFF2-40B4-BE49-F238E27FC236}">
                <a16:creationId xmlns:a16="http://schemas.microsoft.com/office/drawing/2014/main" id="{A43CB924-4778-AEB3-1D6C-5B802CD043B0}"/>
              </a:ext>
            </a:extLst>
          </p:cNvPr>
          <p:cNvSpPr>
            <a:spLocks noGrp="1"/>
          </p:cNvSpPr>
          <p:nvPr>
            <p:ph type="dgm" sz="quarter" idx="38" hasCustomPrompt="1"/>
          </p:nvPr>
        </p:nvSpPr>
        <p:spPr>
          <a:xfrm>
            <a:off x="7279635" y="2020781"/>
            <a:ext cx="3602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9" name="SmartArt Placeholder 35">
            <a:extLst>
              <a:ext uri="{FF2B5EF4-FFF2-40B4-BE49-F238E27FC236}">
                <a16:creationId xmlns:a16="http://schemas.microsoft.com/office/drawing/2014/main" id="{225723D6-9330-76F1-3F3B-6A582AC1C154}"/>
              </a:ext>
            </a:extLst>
          </p:cNvPr>
          <p:cNvSpPr>
            <a:spLocks noGrp="1"/>
          </p:cNvSpPr>
          <p:nvPr>
            <p:ph type="dgm" sz="quarter" idx="39" hasCustomPrompt="1"/>
          </p:nvPr>
        </p:nvSpPr>
        <p:spPr>
          <a:xfrm>
            <a:off x="9640763" y="2020781"/>
            <a:ext cx="3602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019C0555-55BD-32D2-B375-0C0BC6641F54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DA23ABC7-F7D1-458D-8379-E93325B473CE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AA8F600-C044-B2C2-407F-BE157F6651C1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4E7CD09-1595-ACE1-D22D-0DB2944898EF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C73356B1-351A-A1D6-028F-C9736D731FF3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DEE1F1DF-83E2-9910-8487-D0B14E0DA52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86EFBE9B-F67C-6359-549F-FC22A1C483D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CAEDED04-6A1F-9E39-1C85-4BA396FAFF1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268354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lorful circle on a black background&#10;&#10;Description automatically generated">
            <a:extLst>
              <a:ext uri="{FF2B5EF4-FFF2-40B4-BE49-F238E27FC236}">
                <a16:creationId xmlns:a16="http://schemas.microsoft.com/office/drawing/2014/main" id="{C39DD3F9-9341-288C-0536-DED981D0E40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F20FD9-346B-5423-9ECF-F0D4E362CC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6028" y="1411288"/>
            <a:ext cx="11224706" cy="4638675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80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D2006E5E-EB55-C43F-A9B4-8DABEB5C23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3FD8F32-F279-4432-8A58-F81E65857C65}" type="datetime1">
              <a:rPr lang="en-US" smtClean="0"/>
              <a:t>3/14/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445F7D0D-6905-1D3D-D30A-EBA5E1125C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7363F73-563F-BF23-4175-916ADF6ADD1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05920F1D-0D06-535C-A00E-C9CA8D25274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8A16D72-94EE-8CC0-084C-EB87F8781A1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E0BB2990-3047-821E-17D7-0DDDFF6CB30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D3AEE2A3-1722-B883-C7FC-01A81806B29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609274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BFF9BC5C-A44C-B902-3ACE-C29AC4CE3E4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F20FD9-346B-5423-9ECF-F0D4E362CC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6028" y="1411288"/>
            <a:ext cx="11224706" cy="4638675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80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81B29507-2BB1-EC71-EE9B-8A9EE3F01E0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6DF6730-D992-44FA-AE6C-4CBAE491A1A2}" type="datetime1">
              <a:rPr lang="en-US" smtClean="0"/>
              <a:t>3/14/25</a:t>
            </a:fld>
            <a:endParaRPr lang="en-US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046374F-F6C3-5157-DBE0-F11F0D83F9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C71B9A51-27B6-2F80-3AE9-7FB1599561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2C0D9E54-A379-A966-154D-4362D29B3307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19CE3A53-E53C-AAAA-CD1C-C8F1C56FA3B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A3FDBF06-36FA-A0E2-B3E6-78DF2439777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584168FE-6E03-EFEE-BF63-87C62DF46A2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715250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and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86086DA-FAB4-D672-5D3E-0B069D2B24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BA46848-8969-3428-7E66-3827EB17DC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5410" y="4980758"/>
            <a:ext cx="3446898" cy="1938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buNone/>
              <a:defRPr sz="1400" b="1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8B5CC24-699C-7858-0807-40619F0D53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5412" y="5184857"/>
            <a:ext cx="3446898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/>
              <a:t>Job title</a:t>
            </a:r>
            <a:endParaRPr lang="en-US"/>
          </a:p>
        </p:txBody>
      </p:sp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DFFEAF1E-587A-2BBD-24CD-BAC3592390EE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fld id="{B4BF55FC-51F2-4183-8D9E-66AF05973F62}" type="datetime1">
              <a:rPr lang="en-US" smtClean="0"/>
              <a:t>3/14/25</a:t>
            </a:fld>
            <a:endParaRPr lang="en-US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7C22E0FE-1715-0380-EFE7-5D520713B07F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5820BCA4-5D74-8EE6-4914-C7C86F87E3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E82A0447-0820-5F05-7D32-3BE15F19486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3287" y="358917"/>
            <a:ext cx="2024946" cy="1419083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9200" b="0" i="0">
                <a:solidFill>
                  <a:schemeClr val="tx2"/>
                </a:solidFill>
                <a:latin typeface="Georgia Pro" panose="02040502050405020303" pitchFamily="18" charset="0"/>
              </a:defRPr>
            </a:lvl1pPr>
          </a:lstStyle>
          <a:p>
            <a:pPr lvl="0"/>
            <a:r>
              <a:rPr lang="en-GB"/>
              <a:t>“</a:t>
            </a:r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8A771E8A-8B2A-ED69-3AEC-E5AEDB16F0E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5410" y="1958114"/>
            <a:ext cx="7528898" cy="2721927"/>
          </a:xfrm>
        </p:spPr>
        <p:txBody>
          <a:bodyPr/>
          <a:lstStyle>
            <a:lvl1pPr marL="0" indent="0">
              <a:buNone/>
              <a:defRPr sz="4800" b="0" i="0">
                <a:latin typeface="Georgia Pro" panose="02040502050405020303" pitchFamily="18" charset="0"/>
              </a:defRPr>
            </a:lvl1pPr>
          </a:lstStyle>
          <a:p>
            <a:pPr lvl="0"/>
            <a:r>
              <a:rPr lang="en-GB"/>
              <a:t>Quote goes here.</a:t>
            </a:r>
          </a:p>
        </p:txBody>
      </p:sp>
      <p:sp>
        <p:nvSpPr>
          <p:cNvPr id="15" name="SmartArt Placeholder 13">
            <a:extLst>
              <a:ext uri="{FF2B5EF4-FFF2-40B4-BE49-F238E27FC236}">
                <a16:creationId xmlns:a16="http://schemas.microsoft.com/office/drawing/2014/main" id="{C17B20F9-AA7C-A405-6236-9619CB287E6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dgm" sz="quarter" idx="34" hasCustomPrompt="1"/>
          </p:nvPr>
        </p:nvSpPr>
        <p:spPr bwMode="black">
          <a:xfrm>
            <a:off x="11629954" y="6276977"/>
            <a:ext cx="34633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  <p:sp>
        <p:nvSpPr>
          <p:cNvPr id="17" name="SmartArt Placeholder 14">
            <a:extLst>
              <a:ext uri="{FF2B5EF4-FFF2-40B4-BE49-F238E27FC236}">
                <a16:creationId xmlns:a16="http://schemas.microsoft.com/office/drawing/2014/main" id="{273647F7-B9AC-34AD-37A2-51B8AB0D581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31767" y="6456400"/>
            <a:ext cx="291940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2766496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04648CD8-B307-812B-5BD0-91AA365C73D1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8350" cy="6858000"/>
          </a:xfrm>
        </p:spPr>
        <p:txBody>
          <a:bodyPr/>
          <a:lstStyle/>
          <a:p>
            <a:r>
              <a:rPr lang="en-GB"/>
              <a:t>Click icon to add media</a:t>
            </a:r>
            <a:endParaRPr lang="en-US"/>
          </a:p>
        </p:txBody>
      </p:sp>
      <p:sp>
        <p:nvSpPr>
          <p:cNvPr id="4" name="Date Placeholder 8">
            <a:extLst>
              <a:ext uri="{FF2B5EF4-FFF2-40B4-BE49-F238E27FC236}">
                <a16:creationId xmlns:a16="http://schemas.microsoft.com/office/drawing/2014/main" id="{2B2A75B8-AC69-234D-6453-3F51196FB9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5363" y="6437116"/>
            <a:ext cx="1276350" cy="123111"/>
          </a:xfrm>
        </p:spPr>
        <p:txBody>
          <a:bodyPr/>
          <a:lstStyle/>
          <a:p>
            <a:fld id="{652BD6B2-147A-4042-9CBA-A712275A0170}" type="datetime1">
              <a:rPr lang="en-US" smtClean="0"/>
              <a:t>3/14/25</a:t>
            </a:fld>
            <a:endParaRPr lang="en-US"/>
          </a:p>
        </p:txBody>
      </p:sp>
      <p:sp>
        <p:nvSpPr>
          <p:cNvPr id="5" name="Footer Placeholder 9">
            <a:extLst>
              <a:ext uri="{FF2B5EF4-FFF2-40B4-BE49-F238E27FC236}">
                <a16:creationId xmlns:a16="http://schemas.microsoft.com/office/drawing/2014/main" id="{D1F90C88-74CB-BCA1-B76D-286F3EBEEE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4" y="6437116"/>
            <a:ext cx="3827462" cy="123111"/>
          </a:xfrm>
        </p:spPr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85104006-7F28-1301-537B-8A4422337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6000" y="6437116"/>
            <a:ext cx="509363" cy="123111"/>
          </a:xfrm>
        </p:spPr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SmartArt Placeholder 13">
            <a:extLst>
              <a:ext uri="{FF2B5EF4-FFF2-40B4-BE49-F238E27FC236}">
                <a16:creationId xmlns:a16="http://schemas.microsoft.com/office/drawing/2014/main" id="{C1050600-C16E-B87E-A2FD-AE302C51009E}"/>
              </a:ext>
            </a:extLst>
          </p:cNvPr>
          <p:cNvSpPr>
            <a:spLocks noGrp="1"/>
          </p:cNvSpPr>
          <p:nvPr>
            <p:ph type="dgm" sz="quarter" idx="28" hasCustomPrompt="1"/>
          </p:nvPr>
        </p:nvSpPr>
        <p:spPr bwMode="black">
          <a:xfrm>
            <a:off x="11629954" y="6276977"/>
            <a:ext cx="34633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  <p:sp>
        <p:nvSpPr>
          <p:cNvPr id="13" name="SmartArt Placeholder 14">
            <a:extLst>
              <a:ext uri="{FF2B5EF4-FFF2-40B4-BE49-F238E27FC236}">
                <a16:creationId xmlns:a16="http://schemas.microsoft.com/office/drawing/2014/main" id="{2358EBAA-AAE1-278D-A8F7-2D66E11CDE43}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31767" y="6456400"/>
            <a:ext cx="291940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2809139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726257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different colors&#10;&#10;Description automatically generated">
            <a:extLst>
              <a:ext uri="{FF2B5EF4-FFF2-40B4-BE49-F238E27FC236}">
                <a16:creationId xmlns:a16="http://schemas.microsoft.com/office/drawing/2014/main" id="{FA713C4B-012B-6BC4-6014-663819AFE8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" y="0"/>
            <a:ext cx="12197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30FFC6-DEA1-5FCD-0ABD-350186ADBF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8D382A-150D-D8EB-DC10-0BDA892BB7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2590A-78EC-D34C-94DB-423B33ADAD62}" type="datetime4">
              <a:rPr lang="en-GB" smtClean="0"/>
              <a:t>14 March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404887-2287-C581-4D31-42D15091C1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08FDC4-D7A1-423A-393D-40413C460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1BE3DA4-9524-3EE2-96E7-CED6782EB9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5790" y="1425577"/>
            <a:ext cx="3675061" cy="3148013"/>
          </a:xfrm>
        </p:spPr>
        <p:txBody>
          <a:bodyPr/>
          <a:lstStyle>
            <a:lvl1pPr marL="0" indent="0">
              <a:buNone/>
              <a:tabLst/>
              <a:defRPr/>
            </a:lvl1pPr>
            <a:lvl2pPr marL="251874">
              <a:defRPr/>
            </a:lvl2pPr>
            <a:lvl3pPr marL="251874">
              <a:defRPr/>
            </a:lvl3pPr>
            <a:lvl4pPr marL="251874">
              <a:defRPr/>
            </a:lvl4pPr>
            <a:lvl5pPr marL="251874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F133E2B6-7CC1-E4CE-DC67-723326E997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03975" y="1425575"/>
            <a:ext cx="5510597" cy="4578350"/>
          </a:xfrm>
        </p:spPr>
        <p:txBody>
          <a:bodyPr/>
          <a:lstStyle>
            <a:lvl1pPr marL="534721" indent="-534721">
              <a:spcBef>
                <a:spcPts val="1199"/>
              </a:spcBef>
              <a:buClr>
                <a:schemeClr val="bg1"/>
              </a:buClr>
              <a:buSzPct val="100000"/>
              <a:buFont typeface="+mj-lt"/>
              <a:buAutoNum type="arabicPeriod"/>
              <a:tabLst/>
              <a:defRPr/>
            </a:lvl1pPr>
            <a:lvl2pPr marL="807634" indent="-249113">
              <a:buClr>
                <a:schemeClr val="tx2"/>
              </a:buClr>
              <a:tabLst/>
              <a:defRPr sz="1199"/>
            </a:lvl2pPr>
            <a:lvl3pPr marL="807634" indent="-249113">
              <a:buClr>
                <a:schemeClr val="tx2"/>
              </a:buClr>
              <a:tabLst/>
              <a:defRPr sz="1199"/>
            </a:lvl3pPr>
            <a:lvl4pPr marL="807634" indent="-249113">
              <a:buClr>
                <a:schemeClr val="tx2"/>
              </a:buClr>
              <a:tabLst/>
              <a:defRPr sz="1199"/>
            </a:lvl4pPr>
            <a:lvl5pPr marL="807634" indent="-249113">
              <a:buClr>
                <a:schemeClr val="tx2"/>
              </a:buClr>
              <a:tabLst/>
              <a:defRPr sz="11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76077C20-E109-EED5-61AF-AF2FD09DDF4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572792" y="6289677"/>
            <a:ext cx="346158" cy="355219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34D1040C-8127-D987-A58C-5FFED74CFC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latin typeface="+mn-lt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934A1EB4-DEB6-F25B-933D-F007759CF5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AAC198EA-29B0-7844-19F5-24EBF148C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331926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A3103-A6C0-4AC8-B5D2-D11453B0FBBD}" type="datetime3">
              <a:rPr lang="en-US" noProof="0" smtClean="0"/>
              <a:t>14 March 2025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Y DE PPT Gallery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917" y="1137920"/>
            <a:ext cx="8254800" cy="494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 dirty="0" smtClean="0"/>
            </a:lvl1pPr>
            <a:lvl2pPr marL="271463" marR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2pPr>
            <a:lvl3pPr marL="511175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3pPr>
            <a:lvl4pPr marL="746125" marR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4pPr>
            <a:lvl5pPr marL="944563" marR="0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563" marR="0" lvl="4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FBB59D39-6114-41B0-8E75-E6A062D8042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539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6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388060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">
    <p:bg>
      <p:bgPr>
        <a:solidFill>
          <a:srgbClr val="C5DB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background">
            <a:extLst>
              <a:ext uri="{FF2B5EF4-FFF2-40B4-BE49-F238E27FC236}">
                <a16:creationId xmlns:a16="http://schemas.microsoft.com/office/drawing/2014/main" id="{286276F8-B337-412F-9F60-C33C68B74EE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 bwMode="blackWhite">
          <a:xfrm>
            <a:off x="0" y="0"/>
            <a:ext cx="12198350" cy="6858000"/>
          </a:xfrm>
          <a:solidFill>
            <a:srgbClr val="C5DBF3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72324" y="1893369"/>
            <a:ext cx="8212275" cy="3204000"/>
          </a:xfrm>
        </p:spPr>
        <p:txBody>
          <a:bodyPr tIns="0" bIns="450000" anchor="b"/>
          <a:lstStyle>
            <a:lvl1pPr algn="l">
              <a:defRPr sz="10000" b="1" cap="none" baseline="0">
                <a:solidFill>
                  <a:srgbClr val="3C0E18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0EFA22C-5FC2-0122-0B39-620D58A41949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72324" y="4557369"/>
            <a:ext cx="8212275" cy="540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000" cap="all" baseline="0">
                <a:solidFill>
                  <a:srgbClr val="3C0E18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place">
            <a:extLst>
              <a:ext uri="{FF2B5EF4-FFF2-40B4-BE49-F238E27FC236}">
                <a16:creationId xmlns:a16="http://schemas.microsoft.com/office/drawing/2014/main" id="{9149545E-EDF3-5F0C-C761-513AACB9146C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72324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3C0E18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Logo">
            <a:extLst>
              <a:ext uri="{FF2B5EF4-FFF2-40B4-BE49-F238E27FC236}">
                <a16:creationId xmlns:a16="http://schemas.microsoft.com/office/drawing/2014/main" id="{777B27E8-C34B-47F2-821E-3C7C93C77C22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864936" y="1092145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3C0E18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1534696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background">
            <a:extLst>
              <a:ext uri="{FF2B5EF4-FFF2-40B4-BE49-F238E27FC236}">
                <a16:creationId xmlns:a16="http://schemas.microsoft.com/office/drawing/2014/main" id="{286276F8-B337-412F-9F60-C33C68B74EE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1893369"/>
            <a:ext cx="8212275" cy="3204000"/>
          </a:xfrm>
        </p:spPr>
        <p:txBody>
          <a:bodyPr tIns="0" bIns="450000" anchor="b"/>
          <a:lstStyle>
            <a:lvl1pPr algn="l">
              <a:defRPr sz="10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0EFA22C-5FC2-0122-0B39-620D58A419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2325" y="4557369"/>
            <a:ext cx="8212275" cy="540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000" cap="all" baseline="0">
                <a:solidFill>
                  <a:srgbClr val="ECE8DD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place">
            <a:extLst>
              <a:ext uri="{FF2B5EF4-FFF2-40B4-BE49-F238E27FC236}">
                <a16:creationId xmlns:a16="http://schemas.microsoft.com/office/drawing/2014/main" id="{9149545E-EDF3-5F0C-C761-513AACB9146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5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Logo">
            <a:extLst>
              <a:ext uri="{FF2B5EF4-FFF2-40B4-BE49-F238E27FC236}">
                <a16:creationId xmlns:a16="http://schemas.microsoft.com/office/drawing/2014/main" id="{777B27E8-C34B-47F2-821E-3C7C93C77C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9864936" y="1092145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ECE8D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064569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161446-83AB-60D5-1FE8-D3B4D1F747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74083" y="518400"/>
            <a:ext cx="2852685" cy="3801600"/>
          </a:xfrm>
          <a:solidFill>
            <a:schemeClr val="tx1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here and insert picture via Insert &gt; Pictures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D5BE91BE-1AB6-7EF4-B20A-4F1F2CA332E1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926768" y="5094000"/>
            <a:ext cx="1354305" cy="17640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242051"/>
            <a:ext cx="8212275" cy="3220676"/>
          </a:xfrm>
        </p:spPr>
        <p:txBody>
          <a:bodyPr tIns="0" bIns="468000" anchor="b"/>
          <a:lstStyle>
            <a:lvl1pPr algn="l">
              <a:defRPr sz="10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0EFA22C-5FC2-0122-0B39-620D58A419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2324" y="4917364"/>
            <a:ext cx="8212275" cy="540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000" cap="all" baseline="0">
                <a:solidFill>
                  <a:srgbClr val="ECE8DD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place">
            <a:extLst>
              <a:ext uri="{FF2B5EF4-FFF2-40B4-BE49-F238E27FC236}">
                <a16:creationId xmlns:a16="http://schemas.microsoft.com/office/drawing/2014/main" id="{9149545E-EDF3-5F0C-C761-513AACB9146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732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Logo">
            <a:extLst>
              <a:ext uri="{FF2B5EF4-FFF2-40B4-BE49-F238E27FC236}">
                <a16:creationId xmlns:a16="http://schemas.microsoft.com/office/drawing/2014/main" id="{777B27E8-C34B-47F2-821E-3C7C93C77C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673551" y="581520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ECE8D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88035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161446-83AB-60D5-1FE8-D3B4D1F747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59483" y="626400"/>
            <a:ext cx="4203388" cy="56016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242051"/>
            <a:ext cx="8212275" cy="3222000"/>
          </a:xfrm>
        </p:spPr>
        <p:txBody>
          <a:bodyPr tIns="0" bIns="468000" anchor="b"/>
          <a:lstStyle>
            <a:lvl1pPr algn="l">
              <a:defRPr sz="10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0EFA22C-5FC2-0122-0B39-620D58A419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2324" y="4917364"/>
            <a:ext cx="8212275" cy="540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000" cap="all" baseline="0">
                <a:solidFill>
                  <a:srgbClr val="ECE8DD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place">
            <a:extLst>
              <a:ext uri="{FF2B5EF4-FFF2-40B4-BE49-F238E27FC236}">
                <a16:creationId xmlns:a16="http://schemas.microsoft.com/office/drawing/2014/main" id="{9149545E-EDF3-5F0C-C761-513AACB9146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732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Logo">
            <a:extLst>
              <a:ext uri="{FF2B5EF4-FFF2-40B4-BE49-F238E27FC236}">
                <a16:creationId xmlns:a16="http://schemas.microsoft.com/office/drawing/2014/main" id="{777B27E8-C34B-47F2-821E-3C7C93C77C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673551" y="581520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ECE8D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75532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419200"/>
            <a:ext cx="8212275" cy="2948400"/>
          </a:xfrm>
        </p:spPr>
        <p:txBody>
          <a:bodyPr tIns="0" bIns="0" anchor="b"/>
          <a:lstStyle>
            <a:lvl1pPr algn="l">
              <a:defRPr sz="8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3" name="Text Placeholder place">
            <a:extLst>
              <a:ext uri="{FF2B5EF4-FFF2-40B4-BE49-F238E27FC236}">
                <a16:creationId xmlns:a16="http://schemas.microsoft.com/office/drawing/2014/main" id="{A72E3046-EE2A-A654-E5E8-308A7CB9D8F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32683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F96F0A75-C608-23AB-CA71-F564B21D89F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74083" y="518400"/>
            <a:ext cx="2852685" cy="38016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9694D340-F3BB-7422-6C59-CA848299891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926768" y="5094000"/>
            <a:ext cx="1354305" cy="17640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419200"/>
            <a:ext cx="8212275" cy="2948400"/>
          </a:xfrm>
        </p:spPr>
        <p:txBody>
          <a:bodyPr tIns="0" bIns="0" anchor="b"/>
          <a:lstStyle>
            <a:lvl1pPr algn="l">
              <a:defRPr sz="8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4" name="Text Placeholder place">
            <a:extLst>
              <a:ext uri="{FF2B5EF4-FFF2-40B4-BE49-F238E27FC236}">
                <a16:creationId xmlns:a16="http://schemas.microsoft.com/office/drawing/2014/main" id="{84EC2DE6-DE1E-2F87-84E1-8FA4512A4E9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4941102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C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6DE8D83-6B6A-3522-6455-F674A9DBAC2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59483" y="626400"/>
            <a:ext cx="4203388" cy="56016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419200"/>
            <a:ext cx="8212275" cy="2948400"/>
          </a:xfrm>
        </p:spPr>
        <p:txBody>
          <a:bodyPr tIns="0" bIns="0" anchor="b"/>
          <a:lstStyle>
            <a:lvl1pPr algn="l">
              <a:defRPr sz="8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4" name="Text Placeholder place">
            <a:extLst>
              <a:ext uri="{FF2B5EF4-FFF2-40B4-BE49-F238E27FC236}">
                <a16:creationId xmlns:a16="http://schemas.microsoft.com/office/drawing/2014/main" id="{89D9A1B3-A5F1-FD17-0C96-185B51D145F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287059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rgbClr val="C5DB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87BA3AC0-03BE-4D95-92D9-C6F528C80C2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1" name="Text Placeholder baggrund">
            <a:extLst>
              <a:ext uri="{FF2B5EF4-FFF2-40B4-BE49-F238E27FC236}">
                <a16:creationId xmlns:a16="http://schemas.microsoft.com/office/drawing/2014/main" id="{7661B4AB-519D-4FDF-9206-640135CAEA5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C5DBF3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25" y="1800000"/>
            <a:ext cx="3273079" cy="3384000"/>
          </a:xfrm>
        </p:spPr>
        <p:txBody>
          <a:bodyPr anchor="b" anchorCtr="0"/>
          <a:lstStyle>
            <a:lvl1pPr>
              <a:defRPr sz="4800" cap="none" baseline="0"/>
            </a:lvl1pPr>
          </a:lstStyle>
          <a:p>
            <a:r>
              <a:rPr lang="en-GB" noProof="0" dirty="0"/>
              <a:t>Click to add Agenda 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7A0222EC-EFAC-443C-BF69-3C64BE050F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0494" y="1800000"/>
            <a:ext cx="6060955" cy="3240000"/>
          </a:xfrm>
        </p:spPr>
        <p:txBody>
          <a:bodyPr anchor="b" anchorCtr="0"/>
          <a:lstStyle>
            <a:lvl1pPr marL="0" indent="0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b="0">
                <a:latin typeface="+mn-lt"/>
              </a:defRPr>
            </a:lvl1pPr>
            <a:lvl2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8pPr>
            <a:lvl9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 noProof="0" dirty="0"/>
              <a:t>Click to add agenda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3B18079-2D72-4EFD-AC40-DE7393CBD8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5955" y="1800000"/>
            <a:ext cx="484539" cy="3240000"/>
          </a:xfrm>
        </p:spPr>
        <p:txBody>
          <a:bodyPr anchor="b"/>
          <a:lstStyle>
            <a:lvl1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1pPr>
            <a:lvl2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7pPr>
            <a:lvl8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8pPr>
            <a:lvl9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latin typeface="+mn-lt"/>
              </a:defRPr>
            </a:lvl9pPr>
          </a:lstStyle>
          <a:p>
            <a:pPr lvl="0"/>
            <a:r>
              <a:rPr lang="en-GB" dirty="0"/>
              <a:t>01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CB1492-7E27-4E36-9277-271D15C42A05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996599-8385-48A8-9FD6-ACBA744544E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138507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5C236169-AD12-4273-9544-1FCC124B5B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Text Placeholder background">
            <a:extLst>
              <a:ext uri="{FF2B5EF4-FFF2-40B4-BE49-F238E27FC236}">
                <a16:creationId xmlns:a16="http://schemas.microsoft.com/office/drawing/2014/main" id="{6968AFA8-A060-4A6A-A0FC-3452663680B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25" y="2016000"/>
            <a:ext cx="3273079" cy="3168000"/>
          </a:xfrm>
        </p:spPr>
        <p:txBody>
          <a:bodyPr anchor="b" anchorCtr="0"/>
          <a:lstStyle>
            <a:lvl1pPr>
              <a:defRPr sz="4800" cap="none" baseline="0"/>
            </a:lvl1pPr>
          </a:lstStyle>
          <a:p>
            <a:r>
              <a:rPr lang="en-GB" noProof="0" dirty="0"/>
              <a:t>Click to add program 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7A0222EC-EFAC-443C-BF69-3C64BE050F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47139" y="720000"/>
            <a:ext cx="5363272" cy="4320000"/>
          </a:xfrm>
        </p:spPr>
        <p:txBody>
          <a:bodyPr anchor="b" anchorCtr="0"/>
          <a:lstStyle>
            <a:lvl1pPr marL="0" indent="0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b="0">
                <a:latin typeface="+mn-lt"/>
              </a:defRPr>
            </a:lvl1pPr>
            <a:lvl2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3B18079-2D72-4EFD-AC40-DE7393CBD8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5955" y="720000"/>
            <a:ext cx="1299714" cy="4320000"/>
          </a:xfrm>
        </p:spPr>
        <p:txBody>
          <a:bodyPr anchor="b"/>
          <a:lstStyle>
            <a:lvl1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1pPr>
            <a:lvl2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7pPr>
            <a:lvl8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8pPr>
            <a:lvl9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9pPr>
          </a:lstStyle>
          <a:p>
            <a:pPr lvl="0"/>
            <a:r>
              <a:rPr lang="en-GB" dirty="0"/>
              <a:t>0900-1000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CB61D9E-7034-47C5-9937-67D00A031B96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A48B1-8A6C-4ACF-B2E2-27D30CE8BB7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003949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3F302746-FE9F-4E38-A727-8D9D743CDAA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7" name="Text Placeholder background">
            <a:extLst>
              <a:ext uri="{FF2B5EF4-FFF2-40B4-BE49-F238E27FC236}">
                <a16:creationId xmlns:a16="http://schemas.microsoft.com/office/drawing/2014/main" id="{01BDB078-E176-8C62-2D9C-474C3D54C7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C6ADF413-CA5A-42F5-AABA-6E2A71A566D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                                                                                                Press ENTER then TAB to view next text style                                                                                                                                                            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DC17F3-8581-482F-99F4-A84F7726AD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4B80D5-2AE2-4CAB-8B67-BAD1BAA4E51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4346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9" Type="http://schemas.openxmlformats.org/officeDocument/2006/relationships/theme" Target="../theme/theme3.xml"/><Relationship Id="rId21" Type="http://schemas.openxmlformats.org/officeDocument/2006/relationships/slideLayout" Target="../slideLayouts/slideLayout27.xml"/><Relationship Id="rId34" Type="http://schemas.openxmlformats.org/officeDocument/2006/relationships/slideLayout" Target="../slideLayouts/slideLayout40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slideLayout" Target="../slideLayouts/slideLayout39.xml"/><Relationship Id="rId38" Type="http://schemas.openxmlformats.org/officeDocument/2006/relationships/slideLayout" Target="../slideLayouts/slideLayout44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5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slideLayout" Target="../slideLayouts/slideLayout38.xml"/><Relationship Id="rId37" Type="http://schemas.openxmlformats.org/officeDocument/2006/relationships/slideLayout" Target="../slideLayouts/slideLayout43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36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37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41.xml"/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26" Type="http://schemas.openxmlformats.org/officeDocument/2006/relationships/slideLayout" Target="../slideLayouts/slideLayout88.xml"/><Relationship Id="rId3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83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slideLayout" Target="../slideLayouts/slideLayout87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slideLayout" Target="../slideLayouts/slideLayout86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slideLayout" Target="../slideLayouts/slideLayout89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26" Type="http://schemas.openxmlformats.org/officeDocument/2006/relationships/slideLayout" Target="../slideLayouts/slideLayout115.xml"/><Relationship Id="rId39" Type="http://schemas.openxmlformats.org/officeDocument/2006/relationships/slideLayout" Target="../slideLayouts/slideLayout128.xml"/><Relationship Id="rId21" Type="http://schemas.openxmlformats.org/officeDocument/2006/relationships/slideLayout" Target="../slideLayouts/slideLayout110.xml"/><Relationship Id="rId34" Type="http://schemas.openxmlformats.org/officeDocument/2006/relationships/slideLayout" Target="../slideLayouts/slideLayout123.xml"/><Relationship Id="rId42" Type="http://schemas.openxmlformats.org/officeDocument/2006/relationships/slideLayout" Target="../slideLayouts/slideLayout131.xml"/><Relationship Id="rId47" Type="http://schemas.openxmlformats.org/officeDocument/2006/relationships/slideLayout" Target="../slideLayouts/slideLayout136.xml"/><Relationship Id="rId50" Type="http://schemas.openxmlformats.org/officeDocument/2006/relationships/slideLayout" Target="../slideLayouts/slideLayout139.xml"/><Relationship Id="rId55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9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00.xml"/><Relationship Id="rId24" Type="http://schemas.openxmlformats.org/officeDocument/2006/relationships/slideLayout" Target="../slideLayouts/slideLayout113.xml"/><Relationship Id="rId32" Type="http://schemas.openxmlformats.org/officeDocument/2006/relationships/slideLayout" Target="../slideLayouts/slideLayout121.xml"/><Relationship Id="rId37" Type="http://schemas.openxmlformats.org/officeDocument/2006/relationships/slideLayout" Target="../slideLayouts/slideLayout126.xml"/><Relationship Id="rId40" Type="http://schemas.openxmlformats.org/officeDocument/2006/relationships/slideLayout" Target="../slideLayouts/slideLayout129.xml"/><Relationship Id="rId45" Type="http://schemas.openxmlformats.org/officeDocument/2006/relationships/slideLayout" Target="../slideLayouts/slideLayout134.xml"/><Relationship Id="rId53" Type="http://schemas.openxmlformats.org/officeDocument/2006/relationships/slideLayout" Target="../slideLayouts/slideLayout142.xml"/><Relationship Id="rId58" Type="http://schemas.openxmlformats.org/officeDocument/2006/relationships/image" Target="../media/image19.png"/><Relationship Id="rId5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slideLayout" Target="../slideLayouts/slideLayout111.xml"/><Relationship Id="rId27" Type="http://schemas.openxmlformats.org/officeDocument/2006/relationships/slideLayout" Target="../slideLayouts/slideLayout116.xml"/><Relationship Id="rId30" Type="http://schemas.openxmlformats.org/officeDocument/2006/relationships/slideLayout" Target="../slideLayouts/slideLayout119.xml"/><Relationship Id="rId35" Type="http://schemas.openxmlformats.org/officeDocument/2006/relationships/slideLayout" Target="../slideLayouts/slideLayout124.xml"/><Relationship Id="rId43" Type="http://schemas.openxmlformats.org/officeDocument/2006/relationships/slideLayout" Target="../slideLayouts/slideLayout132.xml"/><Relationship Id="rId48" Type="http://schemas.openxmlformats.org/officeDocument/2006/relationships/slideLayout" Target="../slideLayouts/slideLayout137.xml"/><Relationship Id="rId56" Type="http://schemas.openxmlformats.org/officeDocument/2006/relationships/slideLayout" Target="../slideLayouts/slideLayout145.xml"/><Relationship Id="rId8" Type="http://schemas.openxmlformats.org/officeDocument/2006/relationships/slideLayout" Target="../slideLayouts/slideLayout97.xml"/><Relationship Id="rId51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5" Type="http://schemas.openxmlformats.org/officeDocument/2006/relationships/slideLayout" Target="../slideLayouts/slideLayout114.xml"/><Relationship Id="rId33" Type="http://schemas.openxmlformats.org/officeDocument/2006/relationships/slideLayout" Target="../slideLayouts/slideLayout122.xml"/><Relationship Id="rId38" Type="http://schemas.openxmlformats.org/officeDocument/2006/relationships/slideLayout" Target="../slideLayouts/slideLayout127.xml"/><Relationship Id="rId46" Type="http://schemas.openxmlformats.org/officeDocument/2006/relationships/slideLayout" Target="../slideLayouts/slideLayout135.xml"/><Relationship Id="rId59" Type="http://schemas.openxmlformats.org/officeDocument/2006/relationships/image" Target="../media/image20.png"/><Relationship Id="rId20" Type="http://schemas.openxmlformats.org/officeDocument/2006/relationships/slideLayout" Target="../slideLayouts/slideLayout109.xml"/><Relationship Id="rId41" Type="http://schemas.openxmlformats.org/officeDocument/2006/relationships/slideLayout" Target="../slideLayouts/slideLayout130.xml"/><Relationship Id="rId54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4.xml"/><Relationship Id="rId23" Type="http://schemas.openxmlformats.org/officeDocument/2006/relationships/slideLayout" Target="../slideLayouts/slideLayout112.xml"/><Relationship Id="rId28" Type="http://schemas.openxmlformats.org/officeDocument/2006/relationships/slideLayout" Target="../slideLayouts/slideLayout117.xml"/><Relationship Id="rId36" Type="http://schemas.openxmlformats.org/officeDocument/2006/relationships/slideLayout" Target="../slideLayouts/slideLayout125.xml"/><Relationship Id="rId49" Type="http://schemas.openxmlformats.org/officeDocument/2006/relationships/slideLayout" Target="../slideLayouts/slideLayout138.xml"/><Relationship Id="rId57" Type="http://schemas.openxmlformats.org/officeDocument/2006/relationships/theme" Target="../theme/theme6.xml"/><Relationship Id="rId10" Type="http://schemas.openxmlformats.org/officeDocument/2006/relationships/slideLayout" Target="../slideLayouts/slideLayout99.xml"/><Relationship Id="rId31" Type="http://schemas.openxmlformats.org/officeDocument/2006/relationships/slideLayout" Target="../slideLayouts/slideLayout120.xml"/><Relationship Id="rId44" Type="http://schemas.openxmlformats.org/officeDocument/2006/relationships/slideLayout" Target="../slideLayouts/slideLayout133.xml"/><Relationship Id="rId52" Type="http://schemas.openxmlformats.org/officeDocument/2006/relationships/slideLayout" Target="../slideLayouts/slideLayout1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3380" y="294200"/>
            <a:ext cx="4638254" cy="2675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Section tit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621758" y="6417994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</p:grp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D238E7E7-C39E-4E71-BFA1-F8A621E7B3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3378" y="6471243"/>
            <a:ext cx="2342723" cy="221971"/>
          </a:xfrm>
          <a:prstGeom prst="rect">
            <a:avLst/>
          </a:prstGeom>
        </p:spPr>
        <p:txBody>
          <a:bodyPr/>
          <a:lstStyle>
            <a:lvl1pPr>
              <a:defRPr sz="75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45010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22" r:id="rId2"/>
    <p:sldLayoutId id="2147483918" r:id="rId3"/>
    <p:sldLayoutId id="2147484202" r:id="rId4"/>
    <p:sldLayoutId id="2147484203" r:id="rId5"/>
    <p:sldLayoutId id="2147484234" r:id="rId6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1200" b="0" kern="1200">
          <a:solidFill>
            <a:schemeClr val="tx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2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356616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713232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848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426464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3379" y="294200"/>
            <a:ext cx="4638255" cy="2675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Section tit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621759" y="6417994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tx1"/>
                </a:solidFill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tx1"/>
                </a:solidFill>
              </a:endParaRPr>
            </a:p>
          </p:txBody>
        </p:sp>
      </p:grp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C3F41230-A9CB-4E79-9B6C-D163E56F7EA2}"/>
              </a:ext>
            </a:extLst>
          </p:cNvPr>
          <p:cNvSpPr txBox="1">
            <a:spLocks/>
          </p:cNvSpPr>
          <p:nvPr userDrawn="1"/>
        </p:nvSpPr>
        <p:spPr>
          <a:xfrm>
            <a:off x="273379" y="6471245"/>
            <a:ext cx="1966901" cy="22197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97635456"/>
      </p:ext>
    </p:extLst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1199" b="0" kern="1200">
          <a:solidFill>
            <a:schemeClr val="tx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2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356438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712875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313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425751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2">
          <p15:clr>
            <a:srgbClr val="F26B43"/>
          </p15:clr>
        </p15:guide>
        <p15:guide id="2" pos="1634">
          <p15:clr>
            <a:srgbClr val="F26B43"/>
          </p15:clr>
        </p15:guide>
        <p15:guide id="3" orient="horz" pos="105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6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6CB63B89-B9E5-45C3-A2B2-9B5147403B3D}" type="datetime3">
              <a:rPr lang="en-US" smtClean="0"/>
              <a:t>14 March 2025</a:t>
            </a:fld>
            <a:endParaRPr lang="en-IN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2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82958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6" r:id="rId1"/>
    <p:sldLayoutId id="2147484107" r:id="rId2"/>
    <p:sldLayoutId id="2147484108" r:id="rId3"/>
    <p:sldLayoutId id="2147484109" r:id="rId4"/>
    <p:sldLayoutId id="2147484110" r:id="rId5"/>
    <p:sldLayoutId id="2147484111" r:id="rId6"/>
    <p:sldLayoutId id="2147484112" r:id="rId7"/>
    <p:sldLayoutId id="2147484113" r:id="rId8"/>
    <p:sldLayoutId id="2147484114" r:id="rId9"/>
    <p:sldLayoutId id="2147484115" r:id="rId10"/>
    <p:sldLayoutId id="2147484116" r:id="rId11"/>
    <p:sldLayoutId id="2147484117" r:id="rId12"/>
    <p:sldLayoutId id="2147484118" r:id="rId13"/>
    <p:sldLayoutId id="2147484119" r:id="rId14"/>
    <p:sldLayoutId id="2147484120" r:id="rId15"/>
    <p:sldLayoutId id="2147484121" r:id="rId16"/>
    <p:sldLayoutId id="2147484122" r:id="rId17"/>
    <p:sldLayoutId id="2147484131" r:id="rId18"/>
    <p:sldLayoutId id="2147484132" r:id="rId19"/>
    <p:sldLayoutId id="2147484133" r:id="rId20"/>
    <p:sldLayoutId id="2147484134" r:id="rId21"/>
    <p:sldLayoutId id="2147484135" r:id="rId22"/>
    <p:sldLayoutId id="2147484136" r:id="rId23"/>
    <p:sldLayoutId id="2147484137" r:id="rId24"/>
    <p:sldLayoutId id="2147484138" r:id="rId25"/>
    <p:sldLayoutId id="2147484139" r:id="rId26"/>
    <p:sldLayoutId id="2147484140" r:id="rId27"/>
    <p:sldLayoutId id="2147484141" r:id="rId28"/>
    <p:sldLayoutId id="2147484142" r:id="rId29"/>
    <p:sldLayoutId id="2147484143" r:id="rId30"/>
    <p:sldLayoutId id="2147484144" r:id="rId31"/>
    <p:sldLayoutId id="2147484147" r:id="rId32"/>
    <p:sldLayoutId id="2147484148" r:id="rId33"/>
    <p:sldLayoutId id="2147484149" r:id="rId34"/>
    <p:sldLayoutId id="2147484150" r:id="rId35"/>
    <p:sldLayoutId id="2147484151" r:id="rId36"/>
    <p:sldLayoutId id="2147484152" r:id="rId37"/>
    <p:sldLayoutId id="2147484239" r:id="rId38"/>
  </p:sldLayoutIdLst>
  <p:hf sldNum="0" hdr="0" ft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4">
            <a:extLst>
              <a:ext uri="{FF2B5EF4-FFF2-40B4-BE49-F238E27FC236}">
                <a16:creationId xmlns:a16="http://schemas.microsoft.com/office/drawing/2014/main" id="{7765FF2B-120A-4C41-B111-ED1B36F95F2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38914C53-EAD5-4084-92AD-1A23178B58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33BEA071-455E-44E0-83EF-90D3FC08D7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624064F2-9BA4-42C6-918A-CD0000D84A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1" name="Date Placeholder 1">
            <a:extLst>
              <a:ext uri="{FF2B5EF4-FFF2-40B4-BE49-F238E27FC236}">
                <a16:creationId xmlns:a16="http://schemas.microsoft.com/office/drawing/2014/main" id="{1E0F8E6C-AFE0-4EDB-8542-D2F9B9CF303F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15B8CA61-4C3D-4148-904D-789B14991D88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A61F9D6D-CE5F-47BB-9E65-8C9179AD39D6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07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4" r:id="rId1"/>
    <p:sldLayoutId id="2147484155" r:id="rId2"/>
    <p:sldLayoutId id="2147484156" r:id="rId3"/>
    <p:sldLayoutId id="2147484157" r:id="rId4"/>
    <p:sldLayoutId id="2147484158" r:id="rId5"/>
    <p:sldLayoutId id="2147484159" r:id="rId6"/>
    <p:sldLayoutId id="2147484160" r:id="rId7"/>
    <p:sldLayoutId id="2147484161" r:id="rId8"/>
    <p:sldLayoutId id="2147484162" r:id="rId9"/>
    <p:sldLayoutId id="2147484163" r:id="rId10"/>
    <p:sldLayoutId id="2147484164" r:id="rId11"/>
    <p:sldLayoutId id="2147484165" r:id="rId12"/>
    <p:sldLayoutId id="2147484166" r:id="rId13"/>
    <p:sldLayoutId id="2147484171" r:id="rId14"/>
    <p:sldLayoutId id="2147484174" r:id="rId15"/>
    <p:sldLayoutId id="2147484182" r:id="rId16"/>
    <p:sldLayoutId id="2147484186" r:id="rId17"/>
    <p:sldLayoutId id="2147484187" r:id="rId18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5776" y="369888"/>
            <a:ext cx="11230193" cy="4708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776" y="1411288"/>
            <a:ext cx="11230193" cy="4638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First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20pt</a:t>
            </a:r>
            <a:endParaRPr lang="en-US"/>
          </a:p>
          <a:p>
            <a:pPr lvl="1"/>
            <a:r>
              <a:rPr lang="en-US"/>
              <a:t>Second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20pt</a:t>
            </a:r>
            <a:endParaRPr lang="en-US"/>
          </a:p>
          <a:p>
            <a:pPr lvl="2"/>
            <a:r>
              <a:rPr lang="en-US"/>
              <a:t>Third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8pt</a:t>
            </a:r>
            <a:endParaRPr lang="en-US"/>
          </a:p>
          <a:p>
            <a:pPr lvl="3"/>
            <a:r>
              <a:rPr lang="en-US"/>
              <a:t>Four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6pt</a:t>
            </a:r>
            <a:endParaRPr lang="en-US"/>
          </a:p>
          <a:p>
            <a:pPr lvl="4"/>
            <a:r>
              <a:rPr lang="en-US"/>
              <a:t>Fif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6pt</a:t>
            </a:r>
            <a:endParaRPr lang="en-US"/>
          </a:p>
          <a:p>
            <a:pPr lvl="5"/>
            <a:r>
              <a:rPr lang="en-US"/>
              <a:t>Six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4pt</a:t>
            </a:r>
            <a:endParaRPr lang="en-US"/>
          </a:p>
          <a:p>
            <a:pPr lvl="6"/>
            <a:r>
              <a:rPr lang="en-US"/>
              <a:t>Seven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4pt</a:t>
            </a:r>
            <a:endParaRPr lang="en-US"/>
          </a:p>
          <a:p>
            <a:pPr lvl="7"/>
            <a:r>
              <a:rPr lang="en-US"/>
              <a:t>Eigh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2pt</a:t>
            </a:r>
            <a:endParaRPr lang="en-US"/>
          </a:p>
          <a:p>
            <a:pPr lvl="8"/>
            <a:r>
              <a:rPr lang="en-US"/>
              <a:t>Nine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2pt</a:t>
            </a:r>
            <a:endParaRPr lang="en-US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84D8E7BF-2CB9-F661-3559-99D90AE0A4E5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6AA6DF4-2FEA-00BD-9BF9-6CDE40EF389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F5D8B0B-D61C-3D77-A3C6-C71B65E6645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66939EE2-541D-2E43-8858-BD44D3A0144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ED74E7B3-73BA-6CBF-F361-5C4836CC1A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6000" y="6437116"/>
            <a:ext cx="509363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Date Placeholder">
            <a:extLst>
              <a:ext uri="{FF2B5EF4-FFF2-40B4-BE49-F238E27FC236}">
                <a16:creationId xmlns:a16="http://schemas.microsoft.com/office/drawing/2014/main" id="{F72B6F9D-B29D-E927-36D7-47D6721092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5363" y="6437116"/>
            <a:ext cx="1276350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1B22532-B74A-42F2-AC78-F979D73BFCAB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F3C10C79-9BC5-0699-5C8C-F8347F4643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71714" y="6437116"/>
            <a:ext cx="3827462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footer text here</a:t>
            </a:r>
          </a:p>
        </p:txBody>
      </p:sp>
    </p:spTree>
    <p:extLst>
      <p:ext uri="{BB962C8B-B14F-4D97-AF65-F5344CB8AC3E}">
        <p14:creationId xmlns:p14="http://schemas.microsoft.com/office/powerpoint/2010/main" val="2379198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6" r:id="rId1"/>
    <p:sldLayoutId id="2147484207" r:id="rId2"/>
    <p:sldLayoutId id="2147484208" r:id="rId3"/>
    <p:sldLayoutId id="2147484209" r:id="rId4"/>
    <p:sldLayoutId id="2147484210" r:id="rId5"/>
    <p:sldLayoutId id="2147484211" r:id="rId6"/>
    <p:sldLayoutId id="2147484212" r:id="rId7"/>
    <p:sldLayoutId id="2147484213" r:id="rId8"/>
    <p:sldLayoutId id="2147484214" r:id="rId9"/>
    <p:sldLayoutId id="2147484215" r:id="rId10"/>
    <p:sldLayoutId id="2147484216" r:id="rId11"/>
    <p:sldLayoutId id="2147484217" r:id="rId12"/>
    <p:sldLayoutId id="2147484218" r:id="rId13"/>
    <p:sldLayoutId id="2147484219" r:id="rId14"/>
    <p:sldLayoutId id="2147484220" r:id="rId15"/>
    <p:sldLayoutId id="2147484221" r:id="rId16"/>
    <p:sldLayoutId id="2147484222" r:id="rId17"/>
    <p:sldLayoutId id="2147484223" r:id="rId18"/>
    <p:sldLayoutId id="2147484224" r:id="rId19"/>
    <p:sldLayoutId id="2147484225" r:id="rId20"/>
    <p:sldLayoutId id="2147484226" r:id="rId21"/>
    <p:sldLayoutId id="2147484227" r:id="rId22"/>
    <p:sldLayoutId id="2147484228" r:id="rId23"/>
    <p:sldLayoutId id="2147484229" r:id="rId24"/>
    <p:sldLayoutId id="2147484230" r:id="rId25"/>
    <p:sldLayoutId id="2147484235" r:id="rId26"/>
    <p:sldLayoutId id="2147484237" r:id="rId27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+mj-lt"/>
          <a:ea typeface="+mj-ea"/>
          <a:cs typeface="Arial" pitchFamily="34" charset="0"/>
        </a:defRPr>
      </a:lvl1pPr>
    </p:titleStyle>
    <p:bodyStyle>
      <a:lvl1pPr marL="252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512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764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016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226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9" pos="7378">
          <p15:clr>
            <a:srgbClr val="F26B43"/>
          </p15:clr>
        </p15:guide>
        <p15:guide id="35" pos="302">
          <p15:clr>
            <a:srgbClr val="F26B43"/>
          </p15:clr>
        </p15:guide>
        <p15:guide id="36" orient="horz" pos="210">
          <p15:clr>
            <a:srgbClr val="F26B43"/>
          </p15:clr>
        </p15:guide>
        <p15:guide id="37" orient="horz" pos="527">
          <p15:clr>
            <a:srgbClr val="F26B43"/>
          </p15:clr>
        </p15:guide>
        <p15:guide id="38" orient="horz" pos="890">
          <p15:clr>
            <a:srgbClr val="F26B43"/>
          </p15:clr>
        </p15:guide>
        <p15:guide id="39" orient="horz" pos="383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noFill/>
                <a:latin typeface="+mj-lt"/>
              </a:defRPr>
            </a:lvl1pPr>
          </a:lstStyle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grpSp>
        <p:nvGrpSpPr>
          <p:cNvPr id="13" name="Group color guide">
            <a:extLst>
              <a:ext uri="{FF2B5EF4-FFF2-40B4-BE49-F238E27FC236}">
                <a16:creationId xmlns:a16="http://schemas.microsoft.com/office/drawing/2014/main" id="{731BBF53-B98A-4BF0-202B-77F42F206DEC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-1721369" y="335705"/>
            <a:ext cx="1548806" cy="3843958"/>
            <a:chOff x="-1720473" y="335705"/>
            <a:chExt cx="1548000" cy="384395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9F33B2F-8C60-6F50-5628-EE3BE59554FE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 rotWithShape="1">
            <a:blip r:embed="rId58"/>
            <a:srcRect b="32799"/>
            <a:stretch/>
          </p:blipFill>
          <p:spPr>
            <a:xfrm>
              <a:off x="-1720471" y="1670685"/>
              <a:ext cx="1150767" cy="1702213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634E5841-DB1A-4D8E-9D72-BE5668A376D6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-1711467" y="335705"/>
              <a:ext cx="1476000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000" dirty="0"/>
                <a:t>Change the background and/or logo color by clicking </a:t>
              </a:r>
              <a:r>
                <a:rPr lang="en-GB" sz="1000" noProof="1"/>
                <a:t>on</a:t>
              </a:r>
              <a:r>
                <a:rPr lang="en-GB" sz="1000" dirty="0"/>
                <a:t> the background/logo and choose a color from the Custom Colors: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3C496350-E013-40C9-AE39-E4107519FD91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59"/>
            <a:stretch>
              <a:fillRect/>
            </a:stretch>
          </p:blipFill>
          <p:spPr>
            <a:xfrm>
              <a:off x="-1719132" y="1358941"/>
              <a:ext cx="698169" cy="219133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25235AA-8C87-C128-3EF6-3EF6E0F65913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-1720473" y="3502555"/>
              <a:ext cx="1548000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10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or inspirational color combinations please visit: www.muuto.com/colorlist</a:t>
              </a:r>
            </a:p>
            <a:p>
              <a:pPr algn="l"/>
              <a:endParaRPr lang="en-GB" sz="1400" dirty="0"/>
            </a:p>
          </p:txBody>
        </p:sp>
      </p:grp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60187" y="360000"/>
            <a:ext cx="11475574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60187" y="1764000"/>
            <a:ext cx="11475574" cy="406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                                                                                                                                                                                                                Press ENTER then TAB to view next text style                                                                                                                                                                           Press SHIFT+TAB to view previous text style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, Infographic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1345314" y="6315616"/>
            <a:ext cx="197428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60187" y="6315616"/>
            <a:ext cx="62616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2209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  <p:sldLayoutId id="2147484248" r:id="rId8"/>
    <p:sldLayoutId id="2147484249" r:id="rId9"/>
    <p:sldLayoutId id="2147484250" r:id="rId10"/>
    <p:sldLayoutId id="2147484251" r:id="rId11"/>
    <p:sldLayoutId id="2147484252" r:id="rId12"/>
    <p:sldLayoutId id="2147484253" r:id="rId13"/>
    <p:sldLayoutId id="2147484254" r:id="rId14"/>
    <p:sldLayoutId id="2147484255" r:id="rId15"/>
    <p:sldLayoutId id="2147484256" r:id="rId16"/>
    <p:sldLayoutId id="2147484257" r:id="rId17"/>
    <p:sldLayoutId id="2147484258" r:id="rId18"/>
    <p:sldLayoutId id="2147484259" r:id="rId19"/>
    <p:sldLayoutId id="2147484260" r:id="rId20"/>
    <p:sldLayoutId id="2147484261" r:id="rId21"/>
    <p:sldLayoutId id="2147484262" r:id="rId22"/>
    <p:sldLayoutId id="2147484263" r:id="rId23"/>
    <p:sldLayoutId id="2147484264" r:id="rId24"/>
    <p:sldLayoutId id="2147484265" r:id="rId25"/>
    <p:sldLayoutId id="2147484266" r:id="rId26"/>
    <p:sldLayoutId id="2147484267" r:id="rId27"/>
    <p:sldLayoutId id="2147484268" r:id="rId28"/>
    <p:sldLayoutId id="2147484269" r:id="rId29"/>
    <p:sldLayoutId id="2147484270" r:id="rId30"/>
    <p:sldLayoutId id="2147484271" r:id="rId31"/>
    <p:sldLayoutId id="2147484272" r:id="rId32"/>
    <p:sldLayoutId id="2147484273" r:id="rId33"/>
    <p:sldLayoutId id="2147484274" r:id="rId34"/>
    <p:sldLayoutId id="2147484275" r:id="rId35"/>
    <p:sldLayoutId id="2147484276" r:id="rId36"/>
    <p:sldLayoutId id="2147484277" r:id="rId37"/>
    <p:sldLayoutId id="2147484278" r:id="rId38"/>
    <p:sldLayoutId id="2147484279" r:id="rId39"/>
    <p:sldLayoutId id="2147484280" r:id="rId40"/>
    <p:sldLayoutId id="2147484281" r:id="rId41"/>
    <p:sldLayoutId id="2147484282" r:id="rId42"/>
    <p:sldLayoutId id="2147484283" r:id="rId43"/>
    <p:sldLayoutId id="2147484284" r:id="rId44"/>
    <p:sldLayoutId id="2147484285" r:id="rId45"/>
    <p:sldLayoutId id="2147484286" r:id="rId46"/>
    <p:sldLayoutId id="2147484287" r:id="rId47"/>
    <p:sldLayoutId id="2147484288" r:id="rId48"/>
    <p:sldLayoutId id="2147484289" r:id="rId49"/>
    <p:sldLayoutId id="2147484290" r:id="rId50"/>
    <p:sldLayoutId id="2147484291" r:id="rId51"/>
    <p:sldLayoutId id="2147484292" r:id="rId52"/>
    <p:sldLayoutId id="2147484293" r:id="rId53"/>
    <p:sldLayoutId id="2147484294" r:id="rId54"/>
    <p:sldLayoutId id="2147484295" r:id="rId55"/>
    <p:sldLayoutId id="2147484296" r:id="rId56"/>
  </p:sldLayoutIdLst>
  <p:hf hdr="0" ftr="0" dt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Euclid Flex" panose="020B0500030000000000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Euclid Flex" panose="020B0500030000000000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Euclid Flex" panose="020B0500030000000000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1600" b="1" kern="120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Euclid Flex" panose="020B0500030000000000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b="1" kern="1200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83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sz="6000" kern="1200" baseline="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1">
          <p15:clr>
            <a:srgbClr val="A4A3A4"/>
          </p15:clr>
        </p15:guide>
        <p15:guide id="2" pos="847">
          <p15:clr>
            <a:srgbClr val="A4A3A4"/>
          </p15:clr>
        </p15:guide>
        <p15:guide id="3" orient="horz" pos="226">
          <p15:clr>
            <a:srgbClr val="F26B43"/>
          </p15:clr>
        </p15:guide>
        <p15:guide id="4" orient="horz" pos="4093">
          <p15:clr>
            <a:srgbClr val="F26B43"/>
          </p15:clr>
        </p15:guide>
        <p15:guide id="5" pos="1242">
          <p15:clr>
            <a:srgbClr val="A4A3A4"/>
          </p15:clr>
        </p15:guide>
        <p15:guide id="6" pos="1468">
          <p15:clr>
            <a:srgbClr val="A4A3A4"/>
          </p15:clr>
        </p15:guide>
        <p15:guide id="7" pos="1863">
          <p15:clr>
            <a:srgbClr val="A4A3A4"/>
          </p15:clr>
        </p15:guide>
        <p15:guide id="8" pos="2090">
          <p15:clr>
            <a:srgbClr val="A4A3A4"/>
          </p15:clr>
        </p15:guide>
        <p15:guide id="9" pos="2484">
          <p15:clr>
            <a:srgbClr val="A4A3A4"/>
          </p15:clr>
        </p15:guide>
        <p15:guide id="10" pos="2711">
          <p15:clr>
            <a:srgbClr val="A4A3A4"/>
          </p15:clr>
        </p15:guide>
        <p15:guide id="11" pos="3105">
          <p15:clr>
            <a:srgbClr val="A4A3A4"/>
          </p15:clr>
        </p15:guide>
        <p15:guide id="12" pos="3332">
          <p15:clr>
            <a:srgbClr val="A4A3A4"/>
          </p15:clr>
        </p15:guide>
        <p15:guide id="13" pos="3726">
          <p15:clr>
            <a:srgbClr val="A4A3A4"/>
          </p15:clr>
        </p15:guide>
        <p15:guide id="14" pos="3953">
          <p15:clr>
            <a:srgbClr val="A4A3A4"/>
          </p15:clr>
        </p15:guide>
        <p15:guide id="15" pos="4347">
          <p15:clr>
            <a:srgbClr val="A4A3A4"/>
          </p15:clr>
        </p15:guide>
        <p15:guide id="16" pos="4574">
          <p15:clr>
            <a:srgbClr val="A4A3A4"/>
          </p15:clr>
        </p15:guide>
        <p15:guide id="17" pos="4968">
          <p15:clr>
            <a:srgbClr val="A4A3A4"/>
          </p15:clr>
        </p15:guide>
        <p15:guide id="18" pos="5195">
          <p15:clr>
            <a:srgbClr val="A4A3A4"/>
          </p15:clr>
        </p15:guide>
        <p15:guide id="19" pos="5589">
          <p15:clr>
            <a:srgbClr val="A4A3A4"/>
          </p15:clr>
        </p15:guide>
        <p15:guide id="20" pos="5816">
          <p15:clr>
            <a:srgbClr val="A4A3A4"/>
          </p15:clr>
        </p15:guide>
        <p15:guide id="21" pos="6211">
          <p15:clr>
            <a:srgbClr val="A4A3A4"/>
          </p15:clr>
        </p15:guide>
        <p15:guide id="22" pos="6437">
          <p15:clr>
            <a:srgbClr val="A4A3A4"/>
          </p15:clr>
        </p15:guide>
        <p15:guide id="23" pos="6832">
          <p15:clr>
            <a:srgbClr val="A4A3A4"/>
          </p15:clr>
        </p15:guide>
        <p15:guide id="24" pos="7058">
          <p15:clr>
            <a:srgbClr val="A4A3A4"/>
          </p15:clr>
        </p15:guide>
        <p15:guide id="25" pos="226">
          <p15:clr>
            <a:srgbClr val="F26B43"/>
          </p15:clr>
        </p15:guide>
        <p15:guide id="26" pos="74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EF9D4E20-6CF5-A340-3A78-E85A8DEDCE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1B57DDA2-EB88-84B9-395E-7DB015EEE9FB}"/>
              </a:ext>
            </a:extLst>
          </p:cNvPr>
          <p:cNvSpPr txBox="1">
            <a:spLocks noChangeAspect="1"/>
          </p:cNvSpPr>
          <p:nvPr/>
        </p:nvSpPr>
        <p:spPr>
          <a:xfrm>
            <a:off x="218819" y="2944022"/>
            <a:ext cx="3097223" cy="2813295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  <a:highlight>
                  <a:srgbClr val="000000"/>
                </a:highlight>
              </a:rPr>
              <a:t>{{Product Packshot1}}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9AFED56-B44C-0511-E62C-7BDED54D0001}"/>
              </a:ext>
            </a:extLst>
          </p:cNvPr>
          <p:cNvSpPr txBox="1">
            <a:spLocks noChangeAspect="1"/>
          </p:cNvSpPr>
          <p:nvPr/>
        </p:nvSpPr>
        <p:spPr>
          <a:xfrm>
            <a:off x="3366510" y="981894"/>
            <a:ext cx="2093143" cy="2790857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Lifestyle1}}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80381DF-9A36-3656-BD07-88074392F51B}"/>
              </a:ext>
            </a:extLst>
          </p:cNvPr>
          <p:cNvSpPr txBox="1">
            <a:spLocks noChangeAspect="1"/>
          </p:cNvSpPr>
          <p:nvPr/>
        </p:nvSpPr>
        <p:spPr>
          <a:xfrm>
            <a:off x="3379794" y="3873255"/>
            <a:ext cx="2093143" cy="2790857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</a:t>
            </a:r>
            <a:r>
              <a:rPr lang="en-GB" sz="1000">
                <a:solidFill>
                  <a:srgbClr val="FFFACD"/>
                </a:solidFill>
              </a:rPr>
              <a:t>Product Lifestyle3</a:t>
            </a:r>
            <a:r>
              <a:rPr lang="en-GB" sz="1000" dirty="0">
                <a:solidFill>
                  <a:srgbClr val="FFFACD"/>
                </a:solidFill>
              </a:rPr>
              <a:t>}}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4A7F995-3F0D-6B2E-3E0B-31948F3F5CD3}"/>
              </a:ext>
            </a:extLst>
          </p:cNvPr>
          <p:cNvSpPr txBox="1">
            <a:spLocks noChangeAspect="1"/>
          </p:cNvSpPr>
          <p:nvPr/>
        </p:nvSpPr>
        <p:spPr>
          <a:xfrm>
            <a:off x="5563493" y="981894"/>
            <a:ext cx="2093143" cy="2790857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Lifestyle2}}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12F270-EC64-7878-E0AA-E1C3F789A997}"/>
              </a:ext>
            </a:extLst>
          </p:cNvPr>
          <p:cNvSpPr txBox="1">
            <a:spLocks noChangeAspect="1"/>
          </p:cNvSpPr>
          <p:nvPr/>
        </p:nvSpPr>
        <p:spPr>
          <a:xfrm>
            <a:off x="5576777" y="3873255"/>
            <a:ext cx="2093143" cy="2790857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Lifestyle4}}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2BC1772-6780-E07F-BE59-102E94B1A7A0}"/>
              </a:ext>
            </a:extLst>
          </p:cNvPr>
          <p:cNvSpPr txBox="1">
            <a:spLocks/>
          </p:cNvSpPr>
          <p:nvPr/>
        </p:nvSpPr>
        <p:spPr>
          <a:xfrm>
            <a:off x="8056870" y="533013"/>
            <a:ext cx="601213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height}}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8A8D9DF-7908-D5A3-7B50-DA048C8C6A8B}"/>
              </a:ext>
            </a:extLst>
          </p:cNvPr>
          <p:cNvSpPr txBox="1">
            <a:spLocks/>
          </p:cNvSpPr>
          <p:nvPr/>
        </p:nvSpPr>
        <p:spPr>
          <a:xfrm>
            <a:off x="280604" y="356627"/>
            <a:ext cx="7270123" cy="35277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dirty="0">
                <a:solidFill>
                  <a:srgbClr val="FFFACD"/>
                </a:solidFill>
              </a:rPr>
              <a:t>{{Product name}}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25B9C78-8D60-31D8-C65C-77B0CBA2FDA7}"/>
              </a:ext>
            </a:extLst>
          </p:cNvPr>
          <p:cNvSpPr txBox="1">
            <a:spLocks/>
          </p:cNvSpPr>
          <p:nvPr/>
        </p:nvSpPr>
        <p:spPr>
          <a:xfrm>
            <a:off x="280604" y="1100683"/>
            <a:ext cx="2880000" cy="360000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code}}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69C9A3-8569-762E-A63A-F5B70A3A8227}"/>
              </a:ext>
            </a:extLst>
          </p:cNvPr>
          <p:cNvSpPr txBox="1">
            <a:spLocks/>
          </p:cNvSpPr>
          <p:nvPr/>
        </p:nvSpPr>
        <p:spPr>
          <a:xfrm>
            <a:off x="7861011" y="4303084"/>
            <a:ext cx="3960000" cy="1080000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RTS}}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6BE8DB8-7242-70FE-DCA2-ADFF5F9B4002}"/>
              </a:ext>
            </a:extLst>
          </p:cNvPr>
          <p:cNvSpPr txBox="1">
            <a:spLocks/>
          </p:cNvSpPr>
          <p:nvPr/>
        </p:nvSpPr>
        <p:spPr>
          <a:xfrm>
            <a:off x="7861011" y="5522327"/>
            <a:ext cx="3960000" cy="1080000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MTO}}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F79F7D-277E-3198-4457-575F9817D5AF}"/>
              </a:ext>
            </a:extLst>
          </p:cNvPr>
          <p:cNvSpPr txBox="1">
            <a:spLocks/>
          </p:cNvSpPr>
          <p:nvPr/>
        </p:nvSpPr>
        <p:spPr>
          <a:xfrm>
            <a:off x="280604" y="1831775"/>
            <a:ext cx="2880000" cy="360000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Fact Sheet link}}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DFF5798-084A-AD81-586F-4C7A96BCFB51}"/>
              </a:ext>
            </a:extLst>
          </p:cNvPr>
          <p:cNvSpPr txBox="1">
            <a:spLocks/>
          </p:cNvSpPr>
          <p:nvPr/>
        </p:nvSpPr>
        <p:spPr>
          <a:xfrm>
            <a:off x="280604" y="1466229"/>
            <a:ext cx="2880000" cy="360000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country of origin}}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A2CA7AD-7B0C-D562-0595-468EA092AF73}"/>
              </a:ext>
            </a:extLst>
          </p:cNvPr>
          <p:cNvSpPr txBox="1">
            <a:spLocks/>
          </p:cNvSpPr>
          <p:nvPr/>
        </p:nvSpPr>
        <p:spPr>
          <a:xfrm>
            <a:off x="280604" y="2197322"/>
            <a:ext cx="2880000" cy="360000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configurator link}}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E3075C-ACD2-DDA0-7876-65CC6CB19CBC}"/>
              </a:ext>
            </a:extLst>
          </p:cNvPr>
          <p:cNvSpPr txBox="1">
            <a:spLocks/>
          </p:cNvSpPr>
          <p:nvPr/>
        </p:nvSpPr>
        <p:spPr>
          <a:xfrm>
            <a:off x="7861011" y="1864596"/>
            <a:ext cx="3960000" cy="1080000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</a:t>
            </a:r>
            <a:r>
              <a:rPr lang="en-GB" sz="1000" dirty="0" err="1">
                <a:solidFill>
                  <a:srgbClr val="FFFACD"/>
                </a:solidFill>
              </a:rPr>
              <a:t>CertificateName</a:t>
            </a:r>
            <a:r>
              <a:rPr lang="en-GB" sz="1000" dirty="0">
                <a:solidFill>
                  <a:srgbClr val="FFFACD"/>
                </a:solidFill>
              </a:rPr>
              <a:t>}}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106546-E7BE-BA5B-A468-2C60DD01CE07}"/>
              </a:ext>
            </a:extLst>
          </p:cNvPr>
          <p:cNvSpPr txBox="1">
            <a:spLocks/>
          </p:cNvSpPr>
          <p:nvPr/>
        </p:nvSpPr>
        <p:spPr>
          <a:xfrm>
            <a:off x="7861011" y="3083840"/>
            <a:ext cx="3960000" cy="1080000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Consumption COM}}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C3F3E47-90B7-E09B-ABEF-7B1726E5718A}"/>
              </a:ext>
            </a:extLst>
          </p:cNvPr>
          <p:cNvSpPr txBox="1">
            <a:spLocks/>
          </p:cNvSpPr>
          <p:nvPr/>
        </p:nvSpPr>
        <p:spPr>
          <a:xfrm>
            <a:off x="10496898" y="533013"/>
            <a:ext cx="601213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width}}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014F576-54B7-9104-0E40-62945BF5A1EF}"/>
              </a:ext>
            </a:extLst>
          </p:cNvPr>
          <p:cNvSpPr txBox="1">
            <a:spLocks/>
          </p:cNvSpPr>
          <p:nvPr/>
        </p:nvSpPr>
        <p:spPr>
          <a:xfrm>
            <a:off x="8056869" y="1103308"/>
            <a:ext cx="601213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length}}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A012075-1174-203C-E273-7A9550137513}"/>
              </a:ext>
            </a:extLst>
          </p:cNvPr>
          <p:cNvSpPr txBox="1">
            <a:spLocks/>
          </p:cNvSpPr>
          <p:nvPr/>
        </p:nvSpPr>
        <p:spPr>
          <a:xfrm>
            <a:off x="9276884" y="1113696"/>
            <a:ext cx="867920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seat height}}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AC6C9DD-A11C-4B26-FA6D-B77AB340D874}"/>
              </a:ext>
            </a:extLst>
          </p:cNvPr>
          <p:cNvSpPr txBox="1">
            <a:spLocks/>
          </p:cNvSpPr>
          <p:nvPr/>
        </p:nvSpPr>
        <p:spPr>
          <a:xfrm>
            <a:off x="10496897" y="1099528"/>
            <a:ext cx="601213" cy="296447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diameter}}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3223F92-0434-C622-3219-8BAD5811DFDD}"/>
              </a:ext>
            </a:extLst>
          </p:cNvPr>
          <p:cNvSpPr txBox="1">
            <a:spLocks/>
          </p:cNvSpPr>
          <p:nvPr/>
        </p:nvSpPr>
        <p:spPr>
          <a:xfrm>
            <a:off x="9276884" y="533013"/>
            <a:ext cx="601213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depth}}</a:t>
            </a:r>
          </a:p>
        </p:txBody>
      </p:sp>
    </p:spTree>
    <p:extLst>
      <p:ext uri="{BB962C8B-B14F-4D97-AF65-F5344CB8AC3E}">
        <p14:creationId xmlns:p14="http://schemas.microsoft.com/office/powerpoint/2010/main" val="21431685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C1504121-3530-4207-81A7-E4CD6CD6B810}"/>
    </a:ext>
  </a:extLst>
</a:theme>
</file>

<file path=ppt/theme/theme2.xml><?xml version="1.0" encoding="utf-8"?>
<a:theme xmlns:a="http://schemas.openxmlformats.org/drawingml/2006/main" name="2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C1504121-3530-4207-81A7-E4CD6CD6B810}"/>
    </a:ext>
  </a:extLst>
</a:theme>
</file>

<file path=ppt/theme/theme3.xml><?xml version="1.0" encoding="utf-8"?>
<a:theme xmlns:a="http://schemas.openxmlformats.org/drawingml/2006/main" name="8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EY Core Slides">
  <a:themeElements>
    <a:clrScheme name="Custom 84">
      <a:dk1>
        <a:srgbClr val="1A1A24"/>
      </a:dk1>
      <a:lt1>
        <a:srgbClr val="FFFFFF"/>
      </a:lt1>
      <a:dk2>
        <a:srgbClr val="FFE600"/>
      </a:dk2>
      <a:lt2>
        <a:srgbClr val="2E2E38"/>
      </a:lt2>
      <a:accent1>
        <a:srgbClr val="2DB757"/>
      </a:accent1>
      <a:accent2>
        <a:srgbClr val="27ACAA"/>
      </a:accent2>
      <a:accent3>
        <a:srgbClr val="188CE5"/>
      </a:accent3>
      <a:accent4>
        <a:srgbClr val="750E5C"/>
      </a:accent4>
      <a:accent5>
        <a:srgbClr val="FF4136"/>
      </a:accent5>
      <a:accent6>
        <a:srgbClr val="FF6D00"/>
      </a:accent6>
      <a:hlink>
        <a:srgbClr val="FFE600"/>
      </a:hlink>
      <a:folHlink>
        <a:srgbClr val="FFE600"/>
      </a:folHlink>
    </a:clrScheme>
    <a:fontScheme name="EY">
      <a:majorFont>
        <a:latin typeface="EYInterstate Regular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2"/>
          </a:solidFill>
          <a:miter lim="800000"/>
        </a:ln>
      </a:spPr>
      <a:bodyPr lIns="108000" tIns="108000" rIns="108000" bIns="108000" rtlCol="0" anchor="t" anchorCtr="0"/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Font typeface="Wingdings" pitchFamily="2" charset="2"/>
          <a:buChar char="§"/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 anchor="t">
        <a:spAutoFit/>
      </a:bodyPr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SzPct val="100000"/>
          <a:buFont typeface="Wingdings" pitchFamily="2" charset="2"/>
          <a:buChar char="§"/>
          <a:defRPr sz="20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2024_Template_Dark_v2.potx" id="{C809F8AB-991E-460A-A122-03ADFA52C0BF}" vid="{4A63C152-927B-4484-91FE-BD46D62167FF}"/>
    </a:ext>
  </a:extLst>
</a:theme>
</file>

<file path=ppt/theme/theme6.xml><?xml version="1.0" encoding="utf-8"?>
<a:theme xmlns:a="http://schemas.openxmlformats.org/drawingml/2006/main" name="Muuto">
  <a:themeElements>
    <a:clrScheme name="Muuto">
      <a:dk1>
        <a:srgbClr val="000000"/>
      </a:dk1>
      <a:lt1>
        <a:srgbClr val="FFFFFF"/>
      </a:lt1>
      <a:dk2>
        <a:srgbClr val="ECE8DD"/>
      </a:dk2>
      <a:lt2>
        <a:srgbClr val="EFEEEA"/>
      </a:lt2>
      <a:accent1>
        <a:srgbClr val="2A7A57"/>
      </a:accent1>
      <a:accent2>
        <a:srgbClr val="D9CDE5"/>
      </a:accent2>
      <a:accent3>
        <a:srgbClr val="9A5E18"/>
      </a:accent3>
      <a:accent4>
        <a:srgbClr val="89BCE7"/>
      </a:accent4>
      <a:accent5>
        <a:srgbClr val="3C0E17"/>
      </a:accent5>
      <a:accent6>
        <a:srgbClr val="FFF2A4"/>
      </a:accent6>
      <a:hlink>
        <a:srgbClr val="3C0E17"/>
      </a:hlink>
      <a:folHlink>
        <a:srgbClr val="9A5E18"/>
      </a:folHlink>
    </a:clrScheme>
    <a:fontScheme name="Muuto">
      <a:majorFont>
        <a:latin typeface="Euclid Flex Medium"/>
        <a:ea typeface=""/>
        <a:cs typeface=""/>
      </a:majorFont>
      <a:minorFont>
        <a:latin typeface="Euclid Flex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1400" noProof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/>
        </a:defPPr>
      </a:lstStyle>
    </a:txDef>
  </a:objectDefaults>
  <a:extraClrSchemeLst/>
  <a:custClrLst>
    <a:custClr name="Olive">
      <a:srgbClr val="687025"/>
    </a:custClr>
    <a:custClr name="Dark Green">
      <a:srgbClr val="143E3D"/>
    </a:custClr>
    <a:custClr name="Dusty Green">
      <a:srgbClr val="AEBBA7"/>
    </a:custClr>
    <a:custClr name="Sage Green">
      <a:srgbClr val="B7C5C5"/>
    </a:custClr>
    <a:custClr name="Light Green">
      <a:srgbClr val="E5F5E4"/>
    </a:custClr>
    <a:custClr name="Appel Green">
      <a:srgbClr val="B7D692"/>
    </a:custClr>
    <a:custClr name="Grass Green">
      <a:srgbClr val="549E3D"/>
    </a:custClr>
    <a:custClr name="Green">
      <a:srgbClr val="2A7A57"/>
    </a:custClr>
    <a:custClr name="Color has no name">
      <a:srgbClr val="FFFFFF"/>
    </a:custClr>
    <a:custClr name="Color has no name">
      <a:srgbClr val="FFFFFF"/>
    </a:custClr>
    <a:custClr name="Ice Blue">
      <a:srgbClr val="E2F1FD"/>
    </a:custClr>
    <a:custClr name="Light Bright Blue">
      <a:srgbClr val="C5DBF3"/>
    </a:custClr>
    <a:custClr name="Bright Blue">
      <a:srgbClr val="89BCE7"/>
    </a:custClr>
    <a:custClr name="Blue">
      <a:srgbClr val="014B8A"/>
    </a:custClr>
    <a:custClr name="Dark Blue">
      <a:srgbClr val="22283E"/>
    </a:custClr>
    <a:custClr name="Midnight Blue">
      <a:srgbClr val="3A4255"/>
    </a:custClr>
    <a:custClr name="Light Blue">
      <a:srgbClr val="A8B5D7"/>
    </a:custClr>
    <a:custClr name="Light Blue-Grey">
      <a:srgbClr val="C0CCD8"/>
    </a:custClr>
    <a:custClr name="Color has no name">
      <a:srgbClr val="FFFFFF"/>
    </a:custClr>
    <a:custClr name="Color has no name">
      <a:srgbClr val="FFFFFF"/>
    </a:custClr>
    <a:custClr name="Dark Red">
      <a:srgbClr val="7A1A1C"/>
    </a:custClr>
    <a:custClr name="Red">
      <a:srgbClr val="CC3601"/>
    </a:custClr>
    <a:custClr name="Orange">
      <a:srgbClr val="DA6E01"/>
    </a:custClr>
    <a:custClr name="Yellow">
      <a:srgbClr val="FCF1C3"/>
    </a:custClr>
    <a:custClr name="Bright Yellow">
      <a:srgbClr val="FFF2A4"/>
    </a:custClr>
    <a:custClr name="Clay Brown">
      <a:srgbClr val="B1894C"/>
    </a:custClr>
    <a:custClr name="Burnt Orange">
      <a:srgbClr val="9A5E18"/>
    </a:custClr>
    <a:custClr name="Caca D'oie">
      <a:srgbClr val="5B4A14"/>
    </a:custClr>
    <a:custClr name="Color has no name">
      <a:srgbClr val="FFFFFF"/>
    </a:custClr>
    <a:custClr name="Color has no name">
      <a:srgbClr val="FFFFFF"/>
    </a:custClr>
    <a:custClr name="Burgundy">
      <a:srgbClr val="3C0E18"/>
    </a:custClr>
    <a:custClr name="Deep Red">
      <a:srgbClr val="592A22"/>
    </a:custClr>
    <a:custClr name="Copper Brown">
      <a:srgbClr val="B76540"/>
    </a:custClr>
    <a:custClr name="Tan Rose">
      <a:srgbClr val="CA9085"/>
    </a:custClr>
    <a:custClr name="Rose">
      <a:srgbClr val="FFE4E3"/>
    </a:custClr>
    <a:custClr name="Light Lavender">
      <a:srgbClr val="F8EDFE"/>
    </a:custClr>
    <a:custClr name="Lavender">
      <a:srgbClr val="D9CDE5"/>
    </a:custClr>
    <a:custClr name="Lilac">
      <a:srgbClr val="CDB2D5"/>
    </a:custClr>
    <a:custClr name="Color has no name">
      <a:srgbClr val="FFFFFF"/>
    </a:custClr>
    <a:custClr name="Color has no name">
      <a:srgbClr val="FFFFFF"/>
    </a:custClr>
    <a:custClr name="Black">
      <a:srgbClr val="000000"/>
    </a:custClr>
    <a:custClr name="Dark Grey">
      <a:srgbClr val="4C4C4C"/>
    </a:custClr>
    <a:custClr name="Taupe">
      <a:srgbClr val="574845"/>
    </a:custClr>
    <a:custClr name="Beige-Grey">
      <a:srgbClr val="D6CECC"/>
    </a:custClr>
    <a:custClr name="Off-White">
      <a:srgbClr val="E4E4DC"/>
    </a:custClr>
    <a:custClr name="Light Grey">
      <a:srgbClr val="EFEEEA"/>
    </a:custClr>
    <a:custClr name="Beige">
      <a:srgbClr val="ECE8DD"/>
    </a:custClr>
    <a:custClr name="Beige-Green">
      <a:srgbClr val="DBD4AA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Muuto template 2024" id="{0E19B4C9-9B4A-4F40-B29E-FF2C79B391CF}" vid="{3B186E71-E44C-4567-998A-D13796A88976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89a98dd-5f36-4e52-9907-6666324cf1a2">
      <UserInfo>
        <DisplayName>ProjectActivityReport_Editors</DisplayName>
        <AccountId>34</AccountId>
        <AccountType/>
      </UserInfo>
      <UserInfo>
        <DisplayName>Sumanta Kundu</DisplayName>
        <AccountId>17</AccountId>
        <AccountType/>
      </UserInfo>
      <UserInfo>
        <DisplayName>Ron Sklaver</DisplayName>
        <AccountId>11685</AccountId>
        <AccountType/>
      </UserInfo>
    </SharedWithUsers>
    <LikesCount xmlns="http://schemas.microsoft.com/sharepoint/v3" xsi:nil="true"/>
    <jc981bd8ab5b47fd91abb7684c0f405b xmlns="50c908b1-f277-4340-90a9-4611d0b0f078">
      <Terms xmlns="http://schemas.microsoft.com/office/infopath/2007/PartnerControls"/>
    </jc981bd8ab5b47fd91abb7684c0f405b>
    <b4187e12891e46deb4d240a4b28bdb90 xmlns="50c908b1-f277-4340-90a9-4611d0b0f078">
      <Terms xmlns="http://schemas.microsoft.com/office/infopath/2007/PartnerControls"/>
    </b4187e12891e46deb4d240a4b28bdb90>
    <i14ea8bbd518495ea0e20ac1ad18c527 xmlns="50c908b1-f277-4340-90a9-4611d0b0f078">
      <Terms xmlns="http://schemas.microsoft.com/office/infopath/2007/PartnerControls"/>
    </i14ea8bbd518495ea0e20ac1ad18c527>
    <TaxCatchAll xmlns="50c908b1-f277-4340-90a9-4611d0b0f078" xsi:nil="true"/>
    <Ratings xmlns="http://schemas.microsoft.com/sharepoint/v3" xsi:nil="true"/>
    <e0e024ccac5240e69ae9c38a41bfa7a5 xmlns="50c908b1-f277-4340-90a9-4611d0b0f078">
      <Terms xmlns="http://schemas.microsoft.com/office/infopath/2007/PartnerControls"/>
    </e0e024ccac5240e69ae9c38a41bfa7a5>
    <_dlc_DocIdPersistId xmlns="c89a98dd-5f36-4e52-9907-6666324cf1a2" xsi:nil="true"/>
    <LikedBy xmlns="http://schemas.microsoft.com/sharepoint/v3">
      <UserInfo>
        <DisplayName/>
        <AccountId xsi:nil="true"/>
        <AccountType/>
      </UserInfo>
    </LikedBy>
    <TaxCatchAllLabel xmlns="50c908b1-f277-4340-90a9-4611d0b0f078" xsi:nil="true"/>
    <Classification_x0020_Status xmlns="35818088-e62d-4edf-bbb6-409430aef268" xsi:nil="true"/>
    <k8128b1c45734e36a24fce652bc7ffb7 xmlns="50c908b1-f277-4340-90a9-4611d0b0f078">
      <Terms xmlns="http://schemas.microsoft.com/office/infopath/2007/PartnerControls"/>
    </k8128b1c45734e36a24fce652bc7ffb7>
    <RatedBy xmlns="http://schemas.microsoft.com/sharepoint/v3">
      <UserInfo>
        <DisplayName/>
        <AccountId xsi:nil="true"/>
        <AccountType/>
      </UserInfo>
    </RatedBy>
    <_dlc_DocId xmlns="c89a98dd-5f36-4e52-9907-6666324cf1a2">KC5E5SVXH7H2-796865023-67846</_dlc_DocId>
    <_dlc_DocIdUrl xmlns="c89a98dd-5f36-4e52-9907-6666324cf1a2">
      <Url>https://sites.ey.com/sites/RealEstateServices/eyatworktoolkit/_layouts/15/DocIdRedir.aspx?ID=KC5E5SVXH7H2-796865023-67846</Url>
      <Description>KC5E5SVXH7H2-796865023-67846</Description>
    </_dlc_DocIdUrl>
    <lcf76f155ced4ddcb4097134ff3c332f xmlns="654de7d7-4894-436a-9a70-ea79df3896c5">
      <Terms xmlns="http://schemas.microsoft.com/office/infopath/2007/PartnerControls"/>
    </lcf76f155ced4ddcb4097134ff3c332f>
  </documentManagement>
</p:properti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SharedContentType xmlns="Microsoft.SharePoint.Taxonomy.ContentTypeSync" SourceId="33ef62f9-2e07-484b-bd79-00aec90129fe" ContentTypeId="0x010100826318CDA76982469C2C3CD2CD5847410101" PreviousValue="false"/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EY Collaboration Document" ma:contentTypeID="0x010100826318CDA76982469C2C3CD2CD584741010100AD1997A9639E5E40B6BE6FC0A74D05D3" ma:contentTypeVersion="3377" ma:contentTypeDescription="Create a new document." ma:contentTypeScope="" ma:versionID="12e511fb1c7f5896e6a340768de13da3">
  <xsd:schema xmlns:xsd="http://www.w3.org/2001/XMLSchema" xmlns:xs="http://www.w3.org/2001/XMLSchema" xmlns:p="http://schemas.microsoft.com/office/2006/metadata/properties" xmlns:ns1="http://schemas.microsoft.com/sharepoint/v3" xmlns:ns2="35818088-e62d-4edf-bbb6-409430aef268" xmlns:ns3="50c908b1-f277-4340-90a9-4611d0b0f078" xmlns:ns5="c89a98dd-5f36-4e52-9907-6666324cf1a2" xmlns:ns6="654de7d7-4894-436a-9a70-ea79df3896c5" targetNamespace="http://schemas.microsoft.com/office/2006/metadata/properties" ma:root="true" ma:fieldsID="32a28d2732a65a27cb02561d5c8244d6" ns1:_="" ns2:_="" ns3:_="" ns5:_="" ns6:_="">
    <xsd:import namespace="http://schemas.microsoft.com/sharepoint/v3"/>
    <xsd:import namespace="35818088-e62d-4edf-bbb6-409430aef268"/>
    <xsd:import namespace="50c908b1-f277-4340-90a9-4611d0b0f078"/>
    <xsd:import namespace="c89a98dd-5f36-4e52-9907-6666324cf1a2"/>
    <xsd:import namespace="654de7d7-4894-436a-9a70-ea79df3896c5"/>
    <xsd:element name="properties">
      <xsd:complexType>
        <xsd:sequence>
          <xsd:element name="documentManagement">
            <xsd:complexType>
              <xsd:all>
                <xsd:element ref="ns2:ClassificationDataNoteField" minOccurs="0"/>
                <xsd:element ref="ns2:Classification_x0020_Status" minOccurs="0"/>
                <xsd:element ref="ns1:AverageRating" minOccurs="0"/>
                <xsd:element ref="ns1:RatingCount" minOccurs="0"/>
                <xsd:element ref="ns1:LikesCount" minOccurs="0"/>
                <xsd:element ref="ns3:jc981bd8ab5b47fd91abb7684c0f405b" minOccurs="0"/>
                <xsd:element ref="ns3:b4187e12891e46deb4d240a4b28bdb90" minOccurs="0"/>
                <xsd:element ref="ns3:e0e024ccac5240e69ae9c38a41bfa7a5" minOccurs="0"/>
                <xsd:element ref="ns3:TaxCatchAllLabel" minOccurs="0"/>
                <xsd:element ref="ns3:TaxCatchAll" minOccurs="0"/>
                <xsd:element ref="ns3:k8128b1c45734e36a24fce652bc7ffb7" minOccurs="0"/>
                <xsd:element ref="ns5:_dlc_DocId" minOccurs="0"/>
                <xsd:element ref="ns5:_dlc_DocIdUrl" minOccurs="0"/>
                <xsd:element ref="ns5:_dlc_DocIdPersistId" minOccurs="0"/>
                <xsd:element ref="ns1:RatedBy" minOccurs="0"/>
                <xsd:element ref="ns1:Ratings" minOccurs="0"/>
                <xsd:element ref="ns1:LikedBy" minOccurs="0"/>
                <xsd:element ref="ns3:i14ea8bbd518495ea0e20ac1ad18c527" minOccurs="0"/>
                <xsd:element ref="ns6:MediaServiceMetadata" minOccurs="0"/>
                <xsd:element ref="ns6:MediaServiceFastMetadata" minOccurs="0"/>
                <xsd:element ref="ns6:MediaServiceDateTaken" minOccurs="0"/>
                <xsd:element ref="ns6:MediaServiceAutoTags" minOccurs="0"/>
                <xsd:element ref="ns6:MediaServiceLocation" minOccurs="0"/>
                <xsd:element ref="ns6:MediaServiceOCR" minOccurs="0"/>
                <xsd:element ref="ns5:SharedWithUsers" minOccurs="0"/>
                <xsd:element ref="ns5:SharedWithDetails" minOccurs="0"/>
                <xsd:element ref="ns6:MediaServiceGenerationTime" minOccurs="0"/>
                <xsd:element ref="ns6:MediaServiceEventHashCode" minOccurs="0"/>
                <xsd:element ref="ns6:MediaServiceAutoKeyPoints" minOccurs="0"/>
                <xsd:element ref="ns6:MediaServiceKeyPoints" minOccurs="0"/>
                <xsd:element ref="ns6:MediaLengthInSeconds" minOccurs="0"/>
                <xsd:element ref="ns6:lcf76f155ced4ddcb4097134ff3c332f" minOccurs="0"/>
                <xsd:element ref="ns6:MediaServiceObjectDetectorVersions" minOccurs="0"/>
                <xsd:element ref="ns6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10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11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13" nillable="true" ma:displayName="Number of Likes" ma:internalName="LikesCount" ma:readOnly="false">
      <xsd:simpleType>
        <xsd:restriction base="dms:Unknown"/>
      </xsd:simpleType>
    </xsd:element>
    <xsd:element name="RatedBy" ma:index="29" nillable="true" ma:displayName="Rated By" ma:description="Users rated the item." ma:hidden="true" ma:list="UserInfo" ma:internalName="RatedBy" ma:readOnly="fals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atings" ma:index="30" nillable="true" ma:displayName="User ratings" ma:description="User ratings for the item" ma:hidden="true" ma:internalName="Ratings" ma:readOnly="false">
      <xsd:simpleType>
        <xsd:restriction base="dms:Note"/>
      </xsd:simpleType>
    </xsd:element>
    <xsd:element name="LikedBy" ma:index="31" nillable="true" ma:displayName="Liked By" ma:hidden="true" ma:list="UserInfo" ma:internalName="LikedBy" ma:readOnly="fals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818088-e62d-4edf-bbb6-409430aef268" elementFormDefault="qualified">
    <xsd:import namespace="http://schemas.microsoft.com/office/2006/documentManagement/types"/>
    <xsd:import namespace="http://schemas.microsoft.com/office/infopath/2007/PartnerControls"/>
    <xsd:element name="ClassificationDataNoteField" ma:index="2" nillable="true" ma:displayName="ClassificationDataNoteField" ma:internalName="ClassificationDataNoteField" ma:readOnly="true">
      <xsd:simpleType>
        <xsd:restriction base="dms:Note"/>
      </xsd:simpleType>
    </xsd:element>
    <xsd:element name="Classification_x0020_Status" ma:index="3" nillable="true" ma:displayName="Classification Status" ma:internalName="Classification_x0020_Status" ma:readOnly="fals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c908b1-f277-4340-90a9-4611d0b0f078" elementFormDefault="qualified">
    <xsd:import namespace="http://schemas.microsoft.com/office/2006/documentManagement/types"/>
    <xsd:import namespace="http://schemas.microsoft.com/office/infopath/2007/PartnerControls"/>
    <xsd:element name="jc981bd8ab5b47fd91abb7684c0f405b" ma:index="14" nillable="true" ma:taxonomy="true" ma:internalName="jc981bd8ab5b47fd91abb7684c0f405b" ma:taxonomyFieldName="GeographicApplicability" ma:displayName="Geographic Applicability" ma:readOnly="false" ma:default="" ma:fieldId="{3c981bd8-ab5b-47fd-91ab-b7684c0f405b}" ma:taxonomyMulti="true" ma:sspId="33ef62f9-2e07-484b-bd79-00aec90129fe" ma:termSetId="d4205efd-bf5c-4aee-a8ac-d84b5a7eb93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4187e12891e46deb4d240a4b28bdb90" ma:index="16" nillable="true" ma:taxonomy="true" ma:internalName="b4187e12891e46deb4d240a4b28bdb90" ma:taxonomyFieldName="ContentLanguage" ma:displayName="Content Language" ma:default="" ma:fieldId="{b4187e12-891e-46de-b4d2-40a4b28bdb90}" ma:taxonomyMulti="true" ma:sspId="33ef62f9-2e07-484b-bd79-00aec90129fe" ma:termSetId="de7f4a9f-9315-4ba0-93d7-d7d3ca1129a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0e024ccac5240e69ae9c38a41bfa7a5" ma:index="18" nillable="true" ma:taxonomy="true" ma:internalName="e0e024ccac5240e69ae9c38a41bfa7a5" ma:taxonomyFieldName="Sector" ma:displayName="Sector" ma:default="" ma:fieldId="{e0e024cc-ac52-40e6-9ae9-c38a41bfa7a5}" ma:taxonomyMulti="true" ma:sspId="33ef62f9-2e07-484b-bd79-00aec90129fe" ma:termSetId="a2f97da7-e69b-4e00-a045-c556c68352c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Label" ma:index="22" nillable="true" ma:displayName="Taxonomy Catch All Column1" ma:hidden="true" ma:list="{ae6f54d8-00f5-42df-8974-d1118676b67e}" ma:internalName="TaxCatchAllLabel" ma:readOnly="false" ma:showField="CatchAllDataLabel" ma:web="c89a98dd-5f36-4e52-9907-6666324cf1a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" ma:index="23" nillable="true" ma:displayName="Taxonomy Catch All Column" ma:hidden="true" ma:list="{ae6f54d8-00f5-42df-8974-d1118676b67e}" ma:internalName="TaxCatchAll" ma:readOnly="false" ma:showField="CatchAllData" ma:web="c89a98dd-5f36-4e52-9907-6666324cf1a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k8128b1c45734e36a24fce652bc7ffb7" ma:index="25" nillable="true" ma:taxonomy="true" ma:internalName="k8128b1c45734e36a24fce652bc7ffb7" ma:taxonomyFieldName="ServiceLineFunction" ma:displayName="Service Line / Function" ma:readOnly="false" ma:default="" ma:fieldId="{48128b1c-4573-4e36-a24f-ce652bc7ffb7}" ma:taxonomyMulti="true" ma:sspId="33ef62f9-2e07-484b-bd79-00aec90129fe" ma:termSetId="a54bfafd-6ceb-41d3-a4cd-e00da9f478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14ea8bbd518495ea0e20ac1ad18c527" ma:index="32" nillable="true" ma:taxonomy="true" ma:internalName="i14ea8bbd518495ea0e20ac1ad18c527" ma:taxonomyFieldName="EYContentType" ma:displayName="EY Content Type" ma:readOnly="false" ma:default="" ma:fieldId="{214ea8bb-d518-495e-a0e2-0ac1ad18c527}" ma:sspId="33ef62f9-2e07-484b-bd79-00aec90129fe" ma:termSetId="6505b3fe-eead-400a-9754-f8a94624a621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9a98dd-5f36-4e52-9907-6666324cf1a2" elementFormDefault="qualified">
    <xsd:import namespace="http://schemas.microsoft.com/office/2006/documentManagement/types"/>
    <xsd:import namespace="http://schemas.microsoft.com/office/infopath/2007/PartnerControls"/>
    <xsd:element name="_dlc_DocId" ma:index="26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27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8" nillable="true" ma:displayName="Persist ID" ma:description="Keep ID on add." ma:hidden="true" ma:internalName="_dlc_DocIdPersistId" ma:readOnly="false">
      <xsd:simpleType>
        <xsd:restriction base="dms:Boolean"/>
      </xsd:simpleType>
    </xsd:element>
    <xsd:element name="SharedWithUsers" ma:index="3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4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4de7d7-4894-436a-9a70-ea79df3896c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3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3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3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36" nillable="true" ma:displayName="Tags" ma:internalName="MediaServiceAutoTags" ma:readOnly="true">
      <xsd:simpleType>
        <xsd:restriction base="dms:Text"/>
      </xsd:simpleType>
    </xsd:element>
    <xsd:element name="MediaServiceLocation" ma:index="37" nillable="true" ma:displayName="Location" ma:internalName="MediaServiceLocation" ma:readOnly="true">
      <xsd:simpleType>
        <xsd:restriction base="dms:Text"/>
      </xsd:simpleType>
    </xsd:element>
    <xsd:element name="MediaServiceOCR" ma:index="3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4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4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4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4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45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47" nillable="true" ma:taxonomy="true" ma:internalName="lcf76f155ced4ddcb4097134ff3c332f" ma:taxonomyFieldName="MediaServiceImageTags" ma:displayName="Image Tags" ma:readOnly="false" ma:fieldId="{5cf76f15-5ced-4ddc-b409-7134ff3c332f}" ma:taxonomyMulti="true" ma:sspId="33ef62f9-2e07-484b-bd79-00aec90129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48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4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7" ma:displayName="Author"/>
        <xsd:element ref="dcterms:created" minOccurs="0" maxOccurs="1"/>
        <xsd:element ref="dc:identifier" minOccurs="0" maxOccurs="1"/>
        <xsd:element name="contentType" minOccurs="0" maxOccurs="1" type="xsd:string" ma:index="21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 ma:index="12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977CA5B-02B3-41CF-A745-24B6C6D3F9E0}">
  <ds:schemaRefs>
    <ds:schemaRef ds:uri="http://schemas.microsoft.com/office/infopath/2007/PartnerControls"/>
    <ds:schemaRef ds:uri="35818088-e62d-4edf-bbb6-409430aef268"/>
    <ds:schemaRef ds:uri="http://schemas.openxmlformats.org/package/2006/metadata/core-properties"/>
    <ds:schemaRef ds:uri="http://schemas.microsoft.com/sharepoint/v3"/>
    <ds:schemaRef ds:uri="http://schemas.microsoft.com/office/2006/documentManagement/types"/>
    <ds:schemaRef ds:uri="http://purl.org/dc/terms/"/>
    <ds:schemaRef ds:uri="http://www.w3.org/XML/1998/namespace"/>
    <ds:schemaRef ds:uri="http://schemas.microsoft.com/office/2006/metadata/properties"/>
    <ds:schemaRef ds:uri="654de7d7-4894-436a-9a70-ea79df3896c5"/>
    <ds:schemaRef ds:uri="http://purl.org/dc/elements/1.1/"/>
    <ds:schemaRef ds:uri="c89a98dd-5f36-4e52-9907-6666324cf1a2"/>
    <ds:schemaRef ds:uri="50c908b1-f277-4340-90a9-4611d0b0f078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C74437D-E3C3-46B5-BC5D-ECD801DFABB0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F51CC9A2-A6F8-4411-B4A9-B45168FD6AEF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FAD5F664-B63D-40E6-A79A-BE5548563225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1759327A-A8F8-402D-97F3-546AA2FB0067}">
  <ds:schemaRefs>
    <ds:schemaRef ds:uri="35818088-e62d-4edf-bbb6-409430aef268"/>
    <ds:schemaRef ds:uri="50c908b1-f277-4340-90a9-4611d0b0f078"/>
    <ds:schemaRef ds:uri="654de7d7-4894-436a-9a70-ea79df3896c5"/>
    <ds:schemaRef ds:uri="c89a98dd-5f36-4e52-9907-6666324cf1a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91</TotalTime>
  <Words>87</Words>
  <Application>Microsoft Macintosh PowerPoint</Application>
  <PresentationFormat>Custom</PresentationFormat>
  <Paragraphs>2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6" baseType="lpstr">
      <vt:lpstr>Arial</vt:lpstr>
      <vt:lpstr>Euclid Flex</vt:lpstr>
      <vt:lpstr>Euclid Flex Medium</vt:lpstr>
      <vt:lpstr>EYInterstate</vt:lpstr>
      <vt:lpstr>EYInterstate Light</vt:lpstr>
      <vt:lpstr>EYInterstate Regular</vt:lpstr>
      <vt:lpstr>Georgia</vt:lpstr>
      <vt:lpstr>Wingdings</vt:lpstr>
      <vt:lpstr>EY light background</vt:lpstr>
      <vt:lpstr>2_EY light background</vt:lpstr>
      <vt:lpstr>8_EY dark background</vt:lpstr>
      <vt:lpstr>2_EY dark background</vt:lpstr>
      <vt:lpstr>EY Core Slides</vt:lpstr>
      <vt:lpstr>Muuto</vt:lpstr>
      <vt:lpstr>think-cell Foli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101-3682537 Space-Driven Technology Capabilities_v6</dc:title>
  <dc:creator>Erika McClimans</dc:creator>
  <cp:keywords/>
  <cp:lastModifiedBy>Tina Korshøj</cp:lastModifiedBy>
  <cp:revision>23</cp:revision>
  <cp:lastPrinted>2024-09-13T11:43:52Z</cp:lastPrinted>
  <dcterms:created xsi:type="dcterms:W3CDTF">2021-02-10T20:58:11Z</dcterms:created>
  <dcterms:modified xsi:type="dcterms:W3CDTF">2025-03-14T06:57:58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26318CDA76982469C2C3CD2CD584741010100AD1997A9639E5E40B6BE6FC0A74D05D3</vt:lpwstr>
  </property>
  <property fmtid="{D5CDD505-2E9C-101B-9397-08002B2CF9AE}" pid="3" name="_dlc_DocIdItemGuid">
    <vt:lpwstr>cfe65b13-1d71-409a-9f4d-ae2512c206d0</vt:lpwstr>
  </property>
  <property fmtid="{D5CDD505-2E9C-101B-9397-08002B2CF9AE}" pid="4" name="GeographicApplicability">
    <vt:lpwstr/>
  </property>
  <property fmtid="{D5CDD505-2E9C-101B-9397-08002B2CF9AE}" pid="5" name="Sector">
    <vt:lpwstr/>
  </property>
  <property fmtid="{D5CDD505-2E9C-101B-9397-08002B2CF9AE}" pid="6" name="ContentLanguage">
    <vt:lpwstr/>
  </property>
  <property fmtid="{D5CDD505-2E9C-101B-9397-08002B2CF9AE}" pid="7" name="EYContentType">
    <vt:lpwstr/>
  </property>
  <property fmtid="{D5CDD505-2E9C-101B-9397-08002B2CF9AE}" pid="8" name="ServiceLineFunction">
    <vt:lpwstr/>
  </property>
  <property fmtid="{D5CDD505-2E9C-101B-9397-08002B2CF9AE}" pid="9" name="MediaServiceImageTags">
    <vt:lpwstr/>
  </property>
</Properties>
</file>